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4045" r:id="rId2"/>
  </p:sldMasterIdLst>
  <p:notesMasterIdLst>
    <p:notesMasterId r:id="rId15"/>
  </p:notesMasterIdLst>
  <p:handoutMasterIdLst>
    <p:handoutMasterId r:id="rId16"/>
  </p:handoutMasterIdLst>
  <p:sldIdLst>
    <p:sldId id="806" r:id="rId3"/>
    <p:sldId id="475" r:id="rId4"/>
    <p:sldId id="731" r:id="rId5"/>
    <p:sldId id="796" r:id="rId6"/>
    <p:sldId id="797" r:id="rId7"/>
    <p:sldId id="800" r:id="rId8"/>
    <p:sldId id="801" r:id="rId9"/>
    <p:sldId id="802" r:id="rId10"/>
    <p:sldId id="803" r:id="rId11"/>
    <p:sldId id="804" r:id="rId12"/>
    <p:sldId id="805" r:id="rId13"/>
    <p:sldId id="494" r:id="rId14"/>
  </p:sldIdLst>
  <p:sldSz cx="9144000" cy="5143500" type="screen16x9"/>
  <p:notesSz cx="6810375" cy="9942513"/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717A"/>
    <a:srgbClr val="A8BBC0"/>
    <a:srgbClr val="663300"/>
    <a:srgbClr val="000000"/>
    <a:srgbClr val="FFFF00"/>
    <a:srgbClr val="124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99" autoAdjust="0"/>
    <p:restoredTop sz="90351" autoAdjust="0"/>
  </p:normalViewPr>
  <p:slideViewPr>
    <p:cSldViewPr snapToGrid="0">
      <p:cViewPr varScale="1">
        <p:scale>
          <a:sx n="155" d="100"/>
          <a:sy n="155" d="100"/>
        </p:scale>
        <p:origin x="156" y="22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87F97E-60CE-42C7-9A1A-F04F34CF73DC}" type="doc">
      <dgm:prSet loTypeId="urn:microsoft.com/office/officeart/2005/8/layout/matrix3" loCatId="matrix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160B873A-E9FF-419B-BD64-51617789346A}">
      <dgm:prSet phldrT="[Text]" custT="1"/>
      <dgm:spPr/>
      <dgm:t>
        <a:bodyPr/>
        <a:lstStyle/>
        <a:p>
          <a:r>
            <a:rPr lang="pl-PL" sz="1600" dirty="0" smtClean="0"/>
            <a:t>Interface</a:t>
          </a:r>
          <a:endParaRPr lang="en-US" sz="1200" dirty="0"/>
        </a:p>
      </dgm:t>
    </dgm:pt>
    <dgm:pt modelId="{3FA5E32A-AC4A-437D-8179-6C8B6C8FB811}" type="parTrans" cxnId="{EBFB36B8-398B-4C0A-A4B8-D5F5706CC1D2}">
      <dgm:prSet/>
      <dgm:spPr/>
      <dgm:t>
        <a:bodyPr/>
        <a:lstStyle/>
        <a:p>
          <a:endParaRPr lang="en-US"/>
        </a:p>
      </dgm:t>
    </dgm:pt>
    <dgm:pt modelId="{00368D22-F440-4858-9252-21E733A99FA0}" type="sibTrans" cxnId="{EBFB36B8-398B-4C0A-A4B8-D5F5706CC1D2}">
      <dgm:prSet/>
      <dgm:spPr/>
      <dgm:t>
        <a:bodyPr/>
        <a:lstStyle/>
        <a:p>
          <a:endParaRPr lang="en-US"/>
        </a:p>
      </dgm:t>
    </dgm:pt>
    <dgm:pt modelId="{F07DE325-541B-458C-A6F3-BDB1724927A8}">
      <dgm:prSet phldrT="[Text]" custT="1"/>
      <dgm:spPr/>
      <dgm:t>
        <a:bodyPr/>
        <a:lstStyle/>
        <a:p>
          <a:r>
            <a:rPr lang="pl-PL" sz="1600" dirty="0" smtClean="0"/>
            <a:t>Łatwa w rozbudowie</a:t>
          </a:r>
          <a:endParaRPr lang="en-US" sz="1600" dirty="0"/>
        </a:p>
      </dgm:t>
    </dgm:pt>
    <dgm:pt modelId="{E8D02F28-F563-48A1-A189-9F1513AF8C45}" type="parTrans" cxnId="{38F4674B-AAF6-4B4C-88CA-772EB937EF70}">
      <dgm:prSet/>
      <dgm:spPr/>
      <dgm:t>
        <a:bodyPr/>
        <a:lstStyle/>
        <a:p>
          <a:endParaRPr lang="en-US"/>
        </a:p>
      </dgm:t>
    </dgm:pt>
    <dgm:pt modelId="{D49E1D18-EE9F-4D6C-BD89-7552D1D45DDA}" type="sibTrans" cxnId="{38F4674B-AAF6-4B4C-88CA-772EB937EF70}">
      <dgm:prSet/>
      <dgm:spPr/>
      <dgm:t>
        <a:bodyPr/>
        <a:lstStyle/>
        <a:p>
          <a:endParaRPr lang="en-US"/>
        </a:p>
      </dgm:t>
    </dgm:pt>
    <dgm:pt modelId="{8BEDD9B6-8EF1-42E5-A71F-A502BB5A82F6}">
      <dgm:prSet phldrT="[Text]" custT="1"/>
      <dgm:spPr/>
      <dgm:t>
        <a:bodyPr/>
        <a:lstStyle/>
        <a:p>
          <a:r>
            <a:rPr lang="pl-PL" sz="1600" dirty="0" smtClean="0"/>
            <a:t>Przeglądanie bazy danych PDU</a:t>
          </a:r>
        </a:p>
      </dgm:t>
    </dgm:pt>
    <dgm:pt modelId="{7FF69CFF-232D-4EBB-ABF6-7E5CD2137C52}" type="parTrans" cxnId="{EC4F28A5-9004-43E0-872A-05283690F393}">
      <dgm:prSet/>
      <dgm:spPr/>
      <dgm:t>
        <a:bodyPr/>
        <a:lstStyle/>
        <a:p>
          <a:endParaRPr lang="en-US"/>
        </a:p>
      </dgm:t>
    </dgm:pt>
    <dgm:pt modelId="{E1D45C46-1ED5-4C29-8660-6EA539601D6C}" type="sibTrans" cxnId="{EC4F28A5-9004-43E0-872A-05283690F393}">
      <dgm:prSet/>
      <dgm:spPr/>
      <dgm:t>
        <a:bodyPr/>
        <a:lstStyle/>
        <a:p>
          <a:endParaRPr lang="en-US"/>
        </a:p>
      </dgm:t>
    </dgm:pt>
    <dgm:pt modelId="{A872BF67-B5E4-4797-8C19-64469C68B74C}">
      <dgm:prSet custT="1"/>
      <dgm:spPr/>
      <dgm:t>
        <a:bodyPr/>
        <a:lstStyle/>
        <a:p>
          <a:r>
            <a:rPr lang="pl-PL" sz="1600" dirty="0" smtClean="0"/>
            <a:t>Sterowanie </a:t>
          </a:r>
          <a:r>
            <a:rPr lang="pl-PL" sz="1200" dirty="0" smtClean="0"/>
            <a:t>ON/OFF/RESET</a:t>
          </a:r>
          <a:endParaRPr lang="en-US" sz="1200" dirty="0"/>
        </a:p>
      </dgm:t>
    </dgm:pt>
    <dgm:pt modelId="{DDBB190A-0A72-4522-8791-BC24EA334603}" type="parTrans" cxnId="{AABAD483-4A5A-47F1-A1E5-BF3252EBEACA}">
      <dgm:prSet/>
      <dgm:spPr/>
      <dgm:t>
        <a:bodyPr/>
        <a:lstStyle/>
        <a:p>
          <a:endParaRPr lang="en-US"/>
        </a:p>
      </dgm:t>
    </dgm:pt>
    <dgm:pt modelId="{E2604F88-3837-42B0-9BF1-C8C4E2567BF9}" type="sibTrans" cxnId="{AABAD483-4A5A-47F1-A1E5-BF3252EBEACA}">
      <dgm:prSet/>
      <dgm:spPr/>
      <dgm:t>
        <a:bodyPr/>
        <a:lstStyle/>
        <a:p>
          <a:endParaRPr lang="en-US"/>
        </a:p>
      </dgm:t>
    </dgm:pt>
    <dgm:pt modelId="{AF0309DF-798A-42D9-8C4A-F8BF9C7FE0D6}" type="pres">
      <dgm:prSet presAssocID="{0D87F97E-60CE-42C7-9A1A-F04F34CF73DC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68ACE2E-79BE-40D0-8429-288739200DE1}" type="pres">
      <dgm:prSet presAssocID="{0D87F97E-60CE-42C7-9A1A-F04F34CF73DC}" presName="diamond" presStyleLbl="bgShp" presStyleIdx="0" presStyleCnt="1"/>
      <dgm:spPr/>
    </dgm:pt>
    <dgm:pt modelId="{EDD816B1-C46A-4E65-ADBF-FBE5C97DBC35}" type="pres">
      <dgm:prSet presAssocID="{0D87F97E-60CE-42C7-9A1A-F04F34CF73DC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4709FB-B250-4F04-B211-1932C072700B}" type="pres">
      <dgm:prSet presAssocID="{0D87F97E-60CE-42C7-9A1A-F04F34CF73DC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ED6D6-6C16-4533-A702-7FDA79983454}" type="pres">
      <dgm:prSet presAssocID="{0D87F97E-60CE-42C7-9A1A-F04F34CF73DC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06A210-74E4-4363-9F68-AB51A9BC007E}" type="pres">
      <dgm:prSet presAssocID="{0D87F97E-60CE-42C7-9A1A-F04F34CF73DC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3447FB5-5AF7-411C-8BC8-1101FF30CB38}" type="presOf" srcId="{8BEDD9B6-8EF1-42E5-A71F-A502BB5A82F6}" destId="{085ED6D6-6C16-4533-A702-7FDA79983454}" srcOrd="0" destOrd="0" presId="urn:microsoft.com/office/officeart/2005/8/layout/matrix3"/>
    <dgm:cxn modelId="{3614E713-B9AD-4A8A-910F-D52327B81060}" type="presOf" srcId="{F07DE325-541B-458C-A6F3-BDB1724927A8}" destId="{134709FB-B250-4F04-B211-1932C072700B}" srcOrd="0" destOrd="0" presId="urn:microsoft.com/office/officeart/2005/8/layout/matrix3"/>
    <dgm:cxn modelId="{EBFB36B8-398B-4C0A-A4B8-D5F5706CC1D2}" srcId="{0D87F97E-60CE-42C7-9A1A-F04F34CF73DC}" destId="{160B873A-E9FF-419B-BD64-51617789346A}" srcOrd="0" destOrd="0" parTransId="{3FA5E32A-AC4A-437D-8179-6C8B6C8FB811}" sibTransId="{00368D22-F440-4858-9252-21E733A99FA0}"/>
    <dgm:cxn modelId="{AABAD483-4A5A-47F1-A1E5-BF3252EBEACA}" srcId="{0D87F97E-60CE-42C7-9A1A-F04F34CF73DC}" destId="{A872BF67-B5E4-4797-8C19-64469C68B74C}" srcOrd="3" destOrd="0" parTransId="{DDBB190A-0A72-4522-8791-BC24EA334603}" sibTransId="{E2604F88-3837-42B0-9BF1-C8C4E2567BF9}"/>
    <dgm:cxn modelId="{EC4F28A5-9004-43E0-872A-05283690F393}" srcId="{0D87F97E-60CE-42C7-9A1A-F04F34CF73DC}" destId="{8BEDD9B6-8EF1-42E5-A71F-A502BB5A82F6}" srcOrd="2" destOrd="0" parTransId="{7FF69CFF-232D-4EBB-ABF6-7E5CD2137C52}" sibTransId="{E1D45C46-1ED5-4C29-8660-6EA539601D6C}"/>
    <dgm:cxn modelId="{AD0A5C12-3BF4-4F0D-B13B-C2381B3B09A0}" type="presOf" srcId="{0D87F97E-60CE-42C7-9A1A-F04F34CF73DC}" destId="{AF0309DF-798A-42D9-8C4A-F8BF9C7FE0D6}" srcOrd="0" destOrd="0" presId="urn:microsoft.com/office/officeart/2005/8/layout/matrix3"/>
    <dgm:cxn modelId="{9CF6CD65-930D-487D-B08A-F1CA9980B4CA}" type="presOf" srcId="{A872BF67-B5E4-4797-8C19-64469C68B74C}" destId="{DD06A210-74E4-4363-9F68-AB51A9BC007E}" srcOrd="0" destOrd="0" presId="urn:microsoft.com/office/officeart/2005/8/layout/matrix3"/>
    <dgm:cxn modelId="{38F4674B-AAF6-4B4C-88CA-772EB937EF70}" srcId="{0D87F97E-60CE-42C7-9A1A-F04F34CF73DC}" destId="{F07DE325-541B-458C-A6F3-BDB1724927A8}" srcOrd="1" destOrd="0" parTransId="{E8D02F28-F563-48A1-A189-9F1513AF8C45}" sibTransId="{D49E1D18-EE9F-4D6C-BD89-7552D1D45DDA}"/>
    <dgm:cxn modelId="{B694E6B9-F82B-47A3-9239-8BF06F1EC5B1}" type="presOf" srcId="{160B873A-E9FF-419B-BD64-51617789346A}" destId="{EDD816B1-C46A-4E65-ADBF-FBE5C97DBC35}" srcOrd="0" destOrd="0" presId="urn:microsoft.com/office/officeart/2005/8/layout/matrix3"/>
    <dgm:cxn modelId="{61C7C1C7-D144-4F8B-B5E4-B39A45BE722C}" type="presParOf" srcId="{AF0309DF-798A-42D9-8C4A-F8BF9C7FE0D6}" destId="{E68ACE2E-79BE-40D0-8429-288739200DE1}" srcOrd="0" destOrd="0" presId="urn:microsoft.com/office/officeart/2005/8/layout/matrix3"/>
    <dgm:cxn modelId="{592869B2-B0FE-4054-B7CE-53408216B5D3}" type="presParOf" srcId="{AF0309DF-798A-42D9-8C4A-F8BF9C7FE0D6}" destId="{EDD816B1-C46A-4E65-ADBF-FBE5C97DBC35}" srcOrd="1" destOrd="0" presId="urn:microsoft.com/office/officeart/2005/8/layout/matrix3"/>
    <dgm:cxn modelId="{27533DE8-CCDD-4D3C-8BB9-561F84E0A731}" type="presParOf" srcId="{AF0309DF-798A-42D9-8C4A-F8BF9C7FE0D6}" destId="{134709FB-B250-4F04-B211-1932C072700B}" srcOrd="2" destOrd="0" presId="urn:microsoft.com/office/officeart/2005/8/layout/matrix3"/>
    <dgm:cxn modelId="{88B609DF-1579-491E-9B73-1F1D76A9484E}" type="presParOf" srcId="{AF0309DF-798A-42D9-8C4A-F8BF9C7FE0D6}" destId="{085ED6D6-6C16-4533-A702-7FDA79983454}" srcOrd="3" destOrd="0" presId="urn:microsoft.com/office/officeart/2005/8/layout/matrix3"/>
    <dgm:cxn modelId="{ADAE8F0A-DB81-4020-B6B5-A568DDCA65D1}" type="presParOf" srcId="{AF0309DF-798A-42D9-8C4A-F8BF9C7FE0D6}" destId="{DD06A210-74E4-4363-9F68-AB51A9BC007E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8ACE2E-79BE-40D0-8429-288739200DE1}">
      <dsp:nvSpPr>
        <dsp:cNvPr id="0" name=""/>
        <dsp:cNvSpPr/>
      </dsp:nvSpPr>
      <dsp:spPr>
        <a:xfrm>
          <a:off x="412583" y="0"/>
          <a:ext cx="3717354" cy="3717354"/>
        </a:xfrm>
        <a:prstGeom prst="diamond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D816B1-C46A-4E65-ADBF-FBE5C97DBC35}">
      <dsp:nvSpPr>
        <dsp:cNvPr id="0" name=""/>
        <dsp:cNvSpPr/>
      </dsp:nvSpPr>
      <dsp:spPr>
        <a:xfrm>
          <a:off x="765732" y="353148"/>
          <a:ext cx="1449768" cy="144976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Interface</a:t>
          </a:r>
          <a:endParaRPr lang="en-US" sz="1200" kern="1200" dirty="0"/>
        </a:p>
      </dsp:txBody>
      <dsp:txXfrm>
        <a:off x="836504" y="423920"/>
        <a:ext cx="1308224" cy="1308224"/>
      </dsp:txXfrm>
    </dsp:sp>
    <dsp:sp modelId="{134709FB-B250-4F04-B211-1932C072700B}">
      <dsp:nvSpPr>
        <dsp:cNvPr id="0" name=""/>
        <dsp:cNvSpPr/>
      </dsp:nvSpPr>
      <dsp:spPr>
        <a:xfrm>
          <a:off x="2327020" y="353148"/>
          <a:ext cx="1449768" cy="1449768"/>
        </a:xfrm>
        <a:prstGeom prst="roundRect">
          <a:avLst/>
        </a:prstGeom>
        <a:solidFill>
          <a:schemeClr val="accent3">
            <a:hueOff val="-4065"/>
            <a:satOff val="-28000"/>
            <a:lumOff val="6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Łatwa w rozbudowie</a:t>
          </a:r>
          <a:endParaRPr lang="en-US" sz="1600" kern="1200" dirty="0"/>
        </a:p>
      </dsp:txBody>
      <dsp:txXfrm>
        <a:off x="2397792" y="423920"/>
        <a:ext cx="1308224" cy="1308224"/>
      </dsp:txXfrm>
    </dsp:sp>
    <dsp:sp modelId="{085ED6D6-6C16-4533-A702-7FDA79983454}">
      <dsp:nvSpPr>
        <dsp:cNvPr id="0" name=""/>
        <dsp:cNvSpPr/>
      </dsp:nvSpPr>
      <dsp:spPr>
        <a:xfrm>
          <a:off x="765732" y="1914437"/>
          <a:ext cx="1449768" cy="1449768"/>
        </a:xfrm>
        <a:prstGeom prst="roundRect">
          <a:avLst/>
        </a:prstGeom>
        <a:solidFill>
          <a:schemeClr val="accent3">
            <a:hueOff val="-8130"/>
            <a:satOff val="-55999"/>
            <a:lumOff val="1372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Przeglądanie bazy danych PDU</a:t>
          </a:r>
        </a:p>
      </dsp:txBody>
      <dsp:txXfrm>
        <a:off x="836504" y="1985209"/>
        <a:ext cx="1308224" cy="1308224"/>
      </dsp:txXfrm>
    </dsp:sp>
    <dsp:sp modelId="{DD06A210-74E4-4363-9F68-AB51A9BC007E}">
      <dsp:nvSpPr>
        <dsp:cNvPr id="0" name=""/>
        <dsp:cNvSpPr/>
      </dsp:nvSpPr>
      <dsp:spPr>
        <a:xfrm>
          <a:off x="2327020" y="1914437"/>
          <a:ext cx="1449768" cy="1449768"/>
        </a:xfrm>
        <a:prstGeom prst="roundRect">
          <a:avLst/>
        </a:prstGeom>
        <a:solidFill>
          <a:schemeClr val="accent3">
            <a:hueOff val="-12196"/>
            <a:satOff val="-83999"/>
            <a:lumOff val="20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Sterowanie </a:t>
          </a:r>
          <a:r>
            <a:rPr lang="pl-PL" sz="1200" kern="1200" dirty="0" smtClean="0"/>
            <a:t>ON/OFF/RESET</a:t>
          </a:r>
          <a:endParaRPr lang="en-US" sz="1200" kern="1200" dirty="0"/>
        </a:p>
      </dsp:txBody>
      <dsp:txXfrm>
        <a:off x="2397792" y="1985209"/>
        <a:ext cx="1308224" cy="13082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2/1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2/1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 smtClean="0">
              <a:ea typeface="ヒラギノ角ゴ Pro W3"/>
              <a:cs typeface="ヒラギノ角ゴ Pro W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F1E334-DD0D-44F1-B379-F6C65B92AF5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226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285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703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smtClean="0"/>
              <a:t>Ograniczona</a:t>
            </a:r>
            <a:r>
              <a:rPr lang="pl-PL" baseline="0" smtClean="0"/>
              <a:t> ilość miejsca w labolatoriach i niewygoda chodzenia wszędzie z laptopem…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10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noProof="0" dirty="0" smtClean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noProof="0" dirty="0" smtClean="0">
                <a:solidFill>
                  <a:schemeClr val="bg2"/>
                </a:solidFill>
                <a:cs typeface="Arial" charset="0"/>
              </a:rPr>
              <a:t>&lt;Change information classification in footer&gt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to De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-118978"/>
            <a:ext cx="9144000" cy="5262478"/>
          </a:xfrm>
          <a:prstGeom prst="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7905" b="-7905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A8BBC0"/>
              </a:solidFill>
            </a:endParaRPr>
          </a:p>
        </p:txBody>
      </p:sp>
      <p:pic>
        <p:nvPicPr>
          <p:cNvPr id="17" name="Picture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630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vangelis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6107" y="-8457"/>
            <a:ext cx="9143167" cy="5151951"/>
          </a:xfrm>
          <a:prstGeom prst="rect">
            <a:avLst/>
          </a:prstGeom>
        </p:spPr>
      </p:pic>
      <p:pic>
        <p:nvPicPr>
          <p:cNvPr id="2" name="Picture 5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93038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" descr="D:\userdata\a1sinha\Desktop\Sales Conference\GettyImages_471095445_CMYK.jpg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  <a:prstGeom prst="rect">
            <a:avLst/>
          </a:prstGeo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 smtClean="0">
                <a:solidFill>
                  <a:srgbClr val="001135"/>
                </a:solidFill>
                <a:latin typeface="Nokia Pure Text Light"/>
                <a:cs typeface="Arial" charset="0"/>
              </a:rPr>
              <a:t>© Nokia Solutions and Networks 2015</a:t>
            </a:r>
            <a:endParaRPr lang="en-GB" sz="800" dirty="0">
              <a:solidFill>
                <a:srgbClr val="001135"/>
              </a:solidFill>
              <a:latin typeface="Nokia Pure Text Light"/>
              <a:cs typeface="Arial" charset="0"/>
            </a:endParaRPr>
          </a:p>
        </p:txBody>
      </p:sp>
      <p:sp>
        <p:nvSpPr>
          <p:cNvPr id="2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956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6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noProof="0" smtClean="0">
                <a:solidFill>
                  <a:schemeClr val="bg2"/>
                </a:solidFill>
                <a:latin typeface="Nokia Pure Headline Light" panose="020B0304040602060303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2"/>
              </a:solidFill>
              <a:latin typeface="Nokia Pure Headline Light" panose="020B0304040602060303" pitchFamily="34" charset="0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noProof="0" dirty="0" smtClean="0">
                <a:solidFill>
                  <a:schemeClr val="bg2"/>
                </a:solidFill>
                <a:latin typeface="Nokia Pure Headline Light" panose="020B0304040602060303" pitchFamily="34" charset="0"/>
                <a:cs typeface="Arial" charset="0"/>
              </a:rPr>
              <a:t>© Nokia Networks 2015</a:t>
            </a:r>
            <a:endParaRPr lang="en-US" sz="800" noProof="0" dirty="0">
              <a:solidFill>
                <a:schemeClr val="bg2"/>
              </a:solidFill>
              <a:latin typeface="Nokia Pure Headline Light" panose="020B0304040602060303" pitchFamily="34" charset="0"/>
              <a:cs typeface="Arial" charset="0"/>
            </a:endParaRPr>
          </a:p>
        </p:txBody>
      </p:sp>
      <p:sp>
        <p:nvSpPr>
          <p:cNvPr id="27" name="Date Placeholder 3"/>
          <p:cNvSpPr txBox="1">
            <a:spLocks/>
          </p:cNvSpPr>
          <p:nvPr userDrawn="1"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9/0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5" r:id="rId2"/>
    <p:sldLayoutId id="2147483804" r:id="rId3"/>
    <p:sldLayoutId id="2147484054" r:id="rId4"/>
    <p:sldLayoutId id="2147484055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 smtClean="0">
                <a:solidFill>
                  <a:srgbClr val="001135"/>
                </a:solidFill>
                <a:latin typeface="Nokia Pure Text Light"/>
                <a:cs typeface="Arial" charset="0"/>
              </a:rPr>
              <a:t>© Nokia</a:t>
            </a:r>
            <a:r>
              <a:rPr lang="en-GB" sz="800" baseline="0" dirty="0" smtClean="0">
                <a:solidFill>
                  <a:srgbClr val="001135"/>
                </a:solidFill>
                <a:latin typeface="Nokia Pure Text Light"/>
                <a:cs typeface="Arial" charset="0"/>
              </a:rPr>
              <a:t> </a:t>
            </a:r>
            <a:r>
              <a:rPr lang="en-GB" sz="800" dirty="0" smtClean="0">
                <a:solidFill>
                  <a:srgbClr val="001135"/>
                </a:solidFill>
                <a:latin typeface="Nokia Pure Text Light"/>
                <a:cs typeface="Arial" charset="0"/>
              </a:rPr>
              <a:t>Networks 2015</a:t>
            </a:r>
            <a:endParaRPr lang="en-GB" sz="800" dirty="0">
              <a:solidFill>
                <a:srgbClr val="001135"/>
              </a:solidFill>
              <a:latin typeface="Nokia Pure Text Light"/>
              <a:cs typeface="Arial" charset="0"/>
            </a:endParaRP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>
                <a:solidFill>
                  <a:srgbClr val="001135"/>
                </a:solidFill>
                <a:cs typeface="Arial" panose="020B0604020202020204" pitchFamily="34" charset="0"/>
              </a:rPr>
              <a:t>Confidential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5772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21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Data" Target="../diagrams/data1.xml"/><Relationship Id="rId5" Type="http://schemas.openxmlformats.org/officeDocument/2006/relationships/image" Target="../media/image23.png"/><Relationship Id="rId10" Type="http://schemas.microsoft.com/office/2007/relationships/diagramDrawing" Target="../diagrams/drawing1.xml"/><Relationship Id="rId4" Type="http://schemas.openxmlformats.org/officeDocument/2006/relationships/image" Target="../media/image22.png"/><Relationship Id="rId9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11334" y="1665834"/>
            <a:ext cx="8046866" cy="2185924"/>
          </a:xfrm>
        </p:spPr>
        <p:txBody>
          <a:bodyPr/>
          <a:lstStyle/>
          <a:p>
            <a:r>
              <a:rPr lang="pl-PL" sz="6000" dirty="0" smtClean="0"/>
              <a:t>Projekty Zespołowe 2016</a:t>
            </a:r>
            <a:endParaRPr lang="en-US" sz="6000" dirty="0"/>
          </a:p>
        </p:txBody>
      </p:sp>
      <p:sp>
        <p:nvSpPr>
          <p:cNvPr id="10" name="Text Placeholder 6"/>
          <p:cNvSpPr txBox="1">
            <a:spLocks/>
          </p:cNvSpPr>
          <p:nvPr/>
        </p:nvSpPr>
        <p:spPr>
          <a:xfrm>
            <a:off x="510187" y="2758796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kern="1200">
                <a:solidFill>
                  <a:schemeClr val="bg2"/>
                </a:solidFill>
                <a:latin typeface="+mj-lt"/>
                <a:ea typeface="ヒラギノ角ゴ Pro W3" charset="0"/>
                <a:cs typeface="ヒラギノ角ゴ Pro W3" charset="0"/>
              </a:defRPr>
            </a:lvl1pPr>
            <a:lvl2pPr marL="458788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8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2pPr>
            <a:lvl3pPr marL="684213" indent="-225425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3pPr>
            <a:lvl4pPr marL="912813" indent="-228600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Lucida Grande"/>
              <a:buChar char="-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4pPr>
            <a:lvl5pPr marL="1143000" indent="-230188" algn="l" defTabSz="457200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ヒラギノ角ゴ Pro W3" charset="0"/>
                <a:cs typeface="ヒラギノ角ゴ Pro W3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pl-PL" dirty="0"/>
              <a:t>Algorytmy planowania miejskiej sieci </a:t>
            </a:r>
            <a:r>
              <a:rPr lang="pl-PL" dirty="0" smtClean="0"/>
              <a:t>komunikacyjnej</a:t>
            </a:r>
          </a:p>
          <a:p>
            <a:pPr marL="457200" indent="-457200">
              <a:buFont typeface="+mj-lt"/>
              <a:buAutoNum type="arabicPeriod"/>
            </a:pPr>
            <a:r>
              <a:rPr lang="pl-PL" dirty="0"/>
              <a:t>Aplikacja mobilna na platfotmy Android i Windows Mobile, służąca do zdalnej kontroli urządzeń PDU </a:t>
            </a:r>
            <a:r>
              <a:rPr lang="pl-PL" dirty="0" smtClean="0"/>
              <a:t>(</a:t>
            </a:r>
            <a:r>
              <a:rPr lang="pl-PL" dirty="0"/>
              <a:t>Power Distribution Unit)</a:t>
            </a:r>
          </a:p>
          <a:p>
            <a:pPr marL="457200" indent="-457200">
              <a:buFont typeface="+mj-lt"/>
              <a:buAutoNum type="arabicPeriod"/>
            </a:pPr>
            <a:endParaRPr lang="pl-PL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55" y="331827"/>
            <a:ext cx="2262511" cy="947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557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736901" y="440223"/>
            <a:ext cx="37700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 smtClean="0">
                <a:solidFill>
                  <a:srgbClr val="124191"/>
                </a:solidFill>
                <a:latin typeface="Arial"/>
              </a:rPr>
              <a:t>Aplikacja na dwie platformy</a:t>
            </a:r>
            <a:endParaRPr lang="en-US" sz="2000" dirty="0" err="1" smtClean="0">
              <a:solidFill>
                <a:srgbClr val="124191"/>
              </a:solidFill>
              <a:latin typeface="Arial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585" y="1799675"/>
            <a:ext cx="1976276" cy="2155938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041113" y="1011025"/>
            <a:ext cx="4542521" cy="3966649"/>
            <a:chOff x="4227406" y="980211"/>
            <a:chExt cx="4542521" cy="3966649"/>
          </a:xfrm>
        </p:grpSpPr>
        <p:pic>
          <p:nvPicPr>
            <p:cNvPr id="1029" name="Picture 5" descr="https://upload.wikimedia.org/wikipedia/de/thumb/9/90/Windows_Mobile_Logo.svg/2000px-Windows_Mobile_Logo.svg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9618" y="980211"/>
              <a:ext cx="1277877" cy="4472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1" name="Picture 7" descr="http://www.irebooks.com/android-logo-png-03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2507" y="980211"/>
              <a:ext cx="1387380" cy="498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13" name="Diagram 12"/>
            <p:cNvGraphicFramePr/>
            <p:nvPr>
              <p:extLst/>
            </p:nvPr>
          </p:nvGraphicFramePr>
          <p:xfrm>
            <a:off x="4227406" y="1229506"/>
            <a:ext cx="4542521" cy="37173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</p:grpSp>
      <p:sp>
        <p:nvSpPr>
          <p:cNvPr id="20" name="TextBox 19"/>
          <p:cNvSpPr txBox="1"/>
          <p:nvPr/>
        </p:nvSpPr>
        <p:spPr>
          <a:xfrm>
            <a:off x="59047" y="1305641"/>
            <a:ext cx="36753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 smtClean="0">
                <a:solidFill>
                  <a:srgbClr val="124191"/>
                </a:solidFill>
                <a:latin typeface="Arial"/>
              </a:rPr>
              <a:t>Kontrola za pomocą smartfonu</a:t>
            </a:r>
            <a:endParaRPr lang="en-US" sz="2000" dirty="0" err="1" smtClean="0">
              <a:solidFill>
                <a:srgbClr val="12419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3647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ak ma działać…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377" y="725557"/>
            <a:ext cx="7309246" cy="3692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06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13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8"/>
          <p:cNvSpPr/>
          <p:nvPr/>
        </p:nvSpPr>
        <p:spPr>
          <a:xfrm>
            <a:off x="372508" y="595204"/>
            <a:ext cx="435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Internet of Things (</a:t>
            </a:r>
            <a:r>
              <a:rPr lang="en-US" dirty="0" err="1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IoT</a:t>
            </a:r>
            <a:r>
              <a:rPr lang="en-US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)</a:t>
            </a:r>
            <a:endParaRPr lang="en-US" dirty="0">
              <a:ln w="3175">
                <a:noFill/>
              </a:ln>
              <a:solidFill>
                <a:schemeClr val="bg1"/>
              </a:solidFill>
              <a:latin typeface="Nokia Pure Headline Light" pitchFamily="34" charset="0"/>
              <a:ea typeface="Nokia Pure Text" pitchFamily="34" charset="0"/>
              <a:cs typeface="Nokia Pure Text" pitchFamily="34" charset="0"/>
            </a:endParaRPr>
          </a:p>
        </p:txBody>
      </p:sp>
      <p:sp>
        <p:nvSpPr>
          <p:cNvPr id="3" name="Rechteck 9"/>
          <p:cNvSpPr/>
          <p:nvPr/>
        </p:nvSpPr>
        <p:spPr>
          <a:xfrm>
            <a:off x="2991063" y="610593"/>
            <a:ext cx="2340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Projekty zespołowe</a:t>
            </a:r>
            <a:endParaRPr lang="pl-PL" sz="1600" dirty="0">
              <a:ln w="3175">
                <a:noFill/>
              </a:ln>
              <a:solidFill>
                <a:schemeClr val="bg1"/>
              </a:solidFill>
              <a:latin typeface="Nokia Pure Headline Light" pitchFamily="34" charset="0"/>
              <a:ea typeface="Nokia Pure Text" pitchFamily="34" charset="0"/>
              <a:cs typeface="Nokia Pure Text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2788920" y="553903"/>
            <a:ext cx="0" cy="451937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8" name="Rectangle 7"/>
          <p:cNvSpPr/>
          <p:nvPr/>
        </p:nvSpPr>
        <p:spPr>
          <a:xfrm>
            <a:off x="372507" y="1339950"/>
            <a:ext cx="721454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3200" dirty="0">
                <a:solidFill>
                  <a:schemeClr val="bg1"/>
                </a:solidFill>
                <a:latin typeface="Nokia Pure Headline" panose="020B0504040602060303" pitchFamily="34" charset="0"/>
              </a:rPr>
              <a:t>Algorytmy planowania miejskiej sieci </a:t>
            </a:r>
            <a:r>
              <a:rPr lang="pl-PL" sz="3200" dirty="0" smtClean="0">
                <a:solidFill>
                  <a:schemeClr val="bg1"/>
                </a:solidFill>
                <a:latin typeface="Nokia Pure Headline" panose="020B0504040602060303" pitchFamily="34" charset="0"/>
              </a:rPr>
              <a:t>komunikacyjnej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l-PL" sz="3200" dirty="0" smtClean="0">
              <a:solidFill>
                <a:schemeClr val="bg1"/>
              </a:solidFill>
              <a:latin typeface="Nokia Pure Headline" panose="020B0504040602060303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600" b="1" dirty="0">
                <a:solidFill>
                  <a:srgbClr val="FFFFFF"/>
                </a:solidFill>
                <a:latin typeface="Nokia Pure Headline" panose="020B0504040602060303" pitchFamily="34" charset="0"/>
              </a:rPr>
              <a:t>Prowadzący</a:t>
            </a:r>
            <a:endParaRPr lang="pl-PL" sz="2000" b="1" dirty="0">
              <a:solidFill>
                <a:srgbClr val="FFFFFF"/>
              </a:solidFill>
              <a:latin typeface="Nokia Pure Headline" panose="020B0504040602060303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Nokia Pure Headline" panose="020B0504040602060303" pitchFamily="34" charset="0"/>
              </a:rPr>
              <a:t>Piotr Grzybowski</a:t>
            </a:r>
            <a:endParaRPr lang="pl-PL" sz="1600" dirty="0">
              <a:solidFill>
                <a:schemeClr val="bg1"/>
              </a:solidFill>
              <a:latin typeface="Nokia Pure Headline" panose="020B0504040602060303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Nokia Pure Headline" panose="020B0504040602060303" pitchFamily="34" charset="0"/>
              </a:rPr>
              <a:t>Krzysztof Waściński</a:t>
            </a:r>
            <a:endParaRPr lang="pl-PL" sz="1600" dirty="0">
              <a:solidFill>
                <a:schemeClr val="bg1"/>
              </a:solidFill>
              <a:latin typeface="Nokia Pure Headline" panose="020B05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44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79400"/>
            <a:ext cx="8396287" cy="311150"/>
          </a:xfrm>
        </p:spPr>
        <p:txBody>
          <a:bodyPr/>
          <a:lstStyle/>
          <a:p>
            <a:r>
              <a:rPr lang="en-US" dirty="0" smtClean="0">
                <a:latin typeface="Nokia Pure Headline Light" pitchFamily="34" charset="0"/>
              </a:rPr>
              <a:t>Internet of Things</a:t>
            </a:r>
            <a:br>
              <a:rPr lang="en-US" dirty="0" smtClean="0">
                <a:latin typeface="Nokia Pure Headline Light" pitchFamily="34" charset="0"/>
              </a:rPr>
            </a:br>
            <a:r>
              <a:rPr lang="en-US" sz="1400" b="0" dirty="0" smtClean="0">
                <a:latin typeface="Nokia Pure Headline Light" pitchFamily="34" charset="0"/>
              </a:rPr>
              <a:t>M2M vs IoT</a:t>
            </a:r>
            <a:endParaRPr lang="en-US" b="0" dirty="0">
              <a:latin typeface="Nokia Pure Headline Light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7231" y="641118"/>
            <a:ext cx="37907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b="1" dirty="0" smtClean="0">
                <a:latin typeface="Nokia Pure Headline" pitchFamily="34" charset="0"/>
              </a:rPr>
              <a:t>M2M</a:t>
            </a:r>
            <a:endParaRPr lang="pl-PL" sz="1000" dirty="0" smtClean="0">
              <a:solidFill>
                <a:schemeClr val="bg2"/>
              </a:solidFill>
              <a:latin typeface="Nokia Pure Headline Light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Technologie umożliwiające komunikację urządzeniom tego samego typu (producent, cel zastosowania, domena)</a:t>
            </a:r>
          </a:p>
          <a:p>
            <a:pPr algn="ctr">
              <a:spcBef>
                <a:spcPts val="600"/>
              </a:spcBef>
            </a:pP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Wiele zamkniętych protokołów, komunikacja w ramach domeny</a:t>
            </a:r>
            <a:endParaRPr lang="pl-PL" sz="1050" dirty="0" smtClean="0">
              <a:solidFill>
                <a:schemeClr val="bg2"/>
              </a:solidFill>
              <a:latin typeface="Nokia Pure Headline Light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03312" y="641118"/>
            <a:ext cx="4048216" cy="1531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b="1" dirty="0" smtClean="0">
                <a:latin typeface="Nokia Pure Headline" pitchFamily="34" charset="0"/>
              </a:rPr>
              <a:t>IoT</a:t>
            </a:r>
            <a:endParaRPr lang="pl-PL" sz="1000" dirty="0" smtClean="0">
              <a:solidFill>
                <a:schemeClr val="bg2"/>
              </a:solidFill>
              <a:latin typeface="Nokia Pure Headline Light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Wzajemne połączenia identyfikowalnych urządzeń </a:t>
            </a:r>
            <a:r>
              <a:rPr lang="pl-PL" sz="1100" dirty="0">
                <a:solidFill>
                  <a:schemeClr val="bg2"/>
                </a:solidFill>
                <a:latin typeface="Nokia Pure Headline Light" pitchFamily="34" charset="0"/>
              </a:rPr>
              <a:t>i</a:t>
            </a: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 aplikacji </a:t>
            </a:r>
            <a:b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</a:b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w ramach istniejącej sieci internetowej </a:t>
            </a:r>
          </a:p>
          <a:p>
            <a:pPr algn="ctr">
              <a:spcBef>
                <a:spcPts val="600"/>
              </a:spcBef>
            </a:pP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Zunifikowany protokół internetowy, wymiana informacji pomiędzy wieloma urządzeniami </a:t>
            </a:r>
            <a:r>
              <a:rPr lang="pl-PL" sz="1100" dirty="0">
                <a:solidFill>
                  <a:schemeClr val="bg2"/>
                </a:solidFill>
                <a:latin typeface="Nokia Pure Headline Light" pitchFamily="34" charset="0"/>
              </a:rPr>
              <a:t>i</a:t>
            </a: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 aplikacjami, analiza danych</a:t>
            </a:r>
            <a:r>
              <a:rPr lang="pl-PL" sz="1100" dirty="0">
                <a:solidFill>
                  <a:schemeClr val="bg2"/>
                </a:solidFill>
                <a:latin typeface="Nokia Pure Headline Light" pitchFamily="34" charset="0"/>
              </a:rPr>
              <a:t>, </a:t>
            </a:r>
            <a:r>
              <a:rPr lang="pl-PL" sz="1100" dirty="0" smtClean="0">
                <a:solidFill>
                  <a:schemeClr val="bg2"/>
                </a:solidFill>
                <a:latin typeface="Nokia Pure Headline Light" pitchFamily="34" charset="0"/>
              </a:rPr>
              <a:t>wymiana informacji dla </a:t>
            </a:r>
            <a:r>
              <a:rPr lang="pl-PL" sz="1100" dirty="0">
                <a:solidFill>
                  <a:schemeClr val="bg2"/>
                </a:solidFill>
                <a:latin typeface="Nokia Pure Headline Light" pitchFamily="34" charset="0"/>
              </a:rPr>
              <a:t>serwisów i aplikacji inteligentnych  </a:t>
            </a:r>
            <a:endParaRPr lang="pl-PL" sz="1100" dirty="0" smtClean="0">
              <a:solidFill>
                <a:schemeClr val="bg2"/>
              </a:solidFill>
              <a:latin typeface="Nokia Pure Headline Light" pitchFamily="34" charset="0"/>
            </a:endParaRPr>
          </a:p>
          <a:p>
            <a:pPr algn="ctr"/>
            <a:endParaRPr lang="pl-PL" sz="1050" dirty="0" smtClean="0">
              <a:solidFill>
                <a:schemeClr val="bg2"/>
              </a:solidFill>
              <a:latin typeface="Nokia Pure Headline Light" pitchFamily="34" charset="0"/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898151" y="2015584"/>
            <a:ext cx="6919004" cy="2579937"/>
            <a:chOff x="170155" y="1649086"/>
            <a:chExt cx="6919004" cy="2579937"/>
          </a:xfrm>
        </p:grpSpPr>
        <p:grpSp>
          <p:nvGrpSpPr>
            <p:cNvPr id="8" name="Group 316"/>
            <p:cNvGrpSpPr/>
            <p:nvPr/>
          </p:nvGrpSpPr>
          <p:grpSpPr>
            <a:xfrm>
              <a:off x="170155" y="1658611"/>
              <a:ext cx="2825044" cy="2570412"/>
              <a:chOff x="798805" y="1460999"/>
              <a:chExt cx="2825044" cy="2570412"/>
            </a:xfrm>
          </p:grpSpPr>
          <p:pic>
            <p:nvPicPr>
              <p:cNvPr id="67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6224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8" name="Group 165"/>
              <p:cNvGrpSpPr/>
              <p:nvPr/>
            </p:nvGrpSpPr>
            <p:grpSpPr>
              <a:xfrm>
                <a:off x="798805" y="3524008"/>
                <a:ext cx="2804204" cy="507403"/>
                <a:chOff x="798805" y="3362083"/>
                <a:chExt cx="2804204" cy="507403"/>
              </a:xfrm>
            </p:grpSpPr>
            <p:grpSp>
              <p:nvGrpSpPr>
                <p:cNvPr id="78" name="Group 5"/>
                <p:cNvGrpSpPr>
                  <a:grpSpLocks noChangeAspect="1"/>
                </p:cNvGrpSpPr>
                <p:nvPr/>
              </p:nvGrpSpPr>
              <p:grpSpPr>
                <a:xfrm>
                  <a:off x="798805" y="3430991"/>
                  <a:ext cx="461385" cy="327376"/>
                  <a:chOff x="1835150" y="2894013"/>
                  <a:chExt cx="727075" cy="496887"/>
                </a:xfrm>
              </p:grpSpPr>
              <p:sp>
                <p:nvSpPr>
                  <p:cNvPr id="115" name="AutoShape 20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835150" y="2894013"/>
                    <a:ext cx="727075" cy="496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6" name="Freeform 22"/>
                  <p:cNvSpPr>
                    <a:spLocks noEditPoints="1"/>
                  </p:cNvSpPr>
                  <p:nvPr/>
                </p:nvSpPr>
                <p:spPr bwMode="auto">
                  <a:xfrm>
                    <a:off x="2479675" y="3124200"/>
                    <a:ext cx="36513" cy="36512"/>
                  </a:xfrm>
                  <a:custGeom>
                    <a:avLst/>
                    <a:gdLst>
                      <a:gd name="T0" fmla="*/ 16 w 32"/>
                      <a:gd name="T1" fmla="*/ 32 h 32"/>
                      <a:gd name="T2" fmla="*/ 0 w 32"/>
                      <a:gd name="T3" fmla="*/ 16 h 32"/>
                      <a:gd name="T4" fmla="*/ 16 w 32"/>
                      <a:gd name="T5" fmla="*/ 0 h 32"/>
                      <a:gd name="T6" fmla="*/ 32 w 32"/>
                      <a:gd name="T7" fmla="*/ 16 h 32"/>
                      <a:gd name="T8" fmla="*/ 16 w 32"/>
                      <a:gd name="T9" fmla="*/ 32 h 32"/>
                      <a:gd name="T10" fmla="*/ 16 w 32"/>
                      <a:gd name="T11" fmla="*/ 12 h 32"/>
                      <a:gd name="T12" fmla="*/ 12 w 32"/>
                      <a:gd name="T13" fmla="*/ 16 h 32"/>
                      <a:gd name="T14" fmla="*/ 16 w 32"/>
                      <a:gd name="T15" fmla="*/ 20 h 32"/>
                      <a:gd name="T16" fmla="*/ 20 w 32"/>
                      <a:gd name="T17" fmla="*/ 16 h 32"/>
                      <a:gd name="T18" fmla="*/ 16 w 32"/>
                      <a:gd name="T19" fmla="*/ 1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2" h="32">
                        <a:moveTo>
                          <a:pt x="16" y="32"/>
                        </a:moveTo>
                        <a:cubicBezTo>
                          <a:pt x="7" y="32"/>
                          <a:pt x="0" y="25"/>
                          <a:pt x="0" y="16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25"/>
                          <a:pt x="25" y="32"/>
                          <a:pt x="16" y="32"/>
                        </a:cubicBezTo>
                        <a:close/>
                        <a:moveTo>
                          <a:pt x="16" y="12"/>
                        </a:moveTo>
                        <a:cubicBezTo>
                          <a:pt x="13" y="12"/>
                          <a:pt x="12" y="14"/>
                          <a:pt x="12" y="16"/>
                        </a:cubicBezTo>
                        <a:cubicBezTo>
                          <a:pt x="12" y="18"/>
                          <a:pt x="13" y="20"/>
                          <a:pt x="16" y="20"/>
                        </a:cubicBezTo>
                        <a:cubicBezTo>
                          <a:pt x="18" y="20"/>
                          <a:pt x="20" y="18"/>
                          <a:pt x="20" y="16"/>
                        </a:cubicBezTo>
                        <a:cubicBezTo>
                          <a:pt x="20" y="14"/>
                          <a:pt x="18" y="12"/>
                          <a:pt x="16" y="12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7" name="Freeform 23"/>
                  <p:cNvSpPr>
                    <a:spLocks noEditPoints="1"/>
                  </p:cNvSpPr>
                  <p:nvPr/>
                </p:nvSpPr>
                <p:spPr bwMode="auto">
                  <a:xfrm>
                    <a:off x="1835150" y="2894013"/>
                    <a:ext cx="727075" cy="496887"/>
                  </a:xfrm>
                  <a:custGeom>
                    <a:avLst/>
                    <a:gdLst>
                      <a:gd name="T0" fmla="*/ 565 w 645"/>
                      <a:gd name="T1" fmla="*/ 440 h 440"/>
                      <a:gd name="T2" fmla="*/ 80 w 645"/>
                      <a:gd name="T3" fmla="*/ 440 h 440"/>
                      <a:gd name="T4" fmla="*/ 0 w 645"/>
                      <a:gd name="T5" fmla="*/ 359 h 440"/>
                      <a:gd name="T6" fmla="*/ 0 w 645"/>
                      <a:gd name="T7" fmla="*/ 80 h 440"/>
                      <a:gd name="T8" fmla="*/ 80 w 645"/>
                      <a:gd name="T9" fmla="*/ 0 h 440"/>
                      <a:gd name="T10" fmla="*/ 565 w 645"/>
                      <a:gd name="T11" fmla="*/ 0 h 440"/>
                      <a:gd name="T12" fmla="*/ 645 w 645"/>
                      <a:gd name="T13" fmla="*/ 80 h 440"/>
                      <a:gd name="T14" fmla="*/ 645 w 645"/>
                      <a:gd name="T15" fmla="*/ 359 h 440"/>
                      <a:gd name="T16" fmla="*/ 565 w 645"/>
                      <a:gd name="T17" fmla="*/ 440 h 440"/>
                      <a:gd name="T18" fmla="*/ 80 w 645"/>
                      <a:gd name="T19" fmla="*/ 24 h 440"/>
                      <a:gd name="T20" fmla="*/ 24 w 645"/>
                      <a:gd name="T21" fmla="*/ 80 h 440"/>
                      <a:gd name="T22" fmla="*/ 24 w 645"/>
                      <a:gd name="T23" fmla="*/ 359 h 440"/>
                      <a:gd name="T24" fmla="*/ 80 w 645"/>
                      <a:gd name="T25" fmla="*/ 416 h 440"/>
                      <a:gd name="T26" fmla="*/ 565 w 645"/>
                      <a:gd name="T27" fmla="*/ 416 h 440"/>
                      <a:gd name="T28" fmla="*/ 621 w 645"/>
                      <a:gd name="T29" fmla="*/ 359 h 440"/>
                      <a:gd name="T30" fmla="*/ 621 w 645"/>
                      <a:gd name="T31" fmla="*/ 80 h 440"/>
                      <a:gd name="T32" fmla="*/ 565 w 645"/>
                      <a:gd name="T33" fmla="*/ 24 h 440"/>
                      <a:gd name="T34" fmla="*/ 80 w 645"/>
                      <a:gd name="T35" fmla="*/ 24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645" h="440">
                        <a:moveTo>
                          <a:pt x="565" y="440"/>
                        </a:moveTo>
                        <a:cubicBezTo>
                          <a:pt x="80" y="440"/>
                          <a:pt x="80" y="440"/>
                          <a:pt x="80" y="440"/>
                        </a:cubicBezTo>
                        <a:cubicBezTo>
                          <a:pt x="36" y="440"/>
                          <a:pt x="0" y="404"/>
                          <a:pt x="0" y="359"/>
                        </a:cubicBezTo>
                        <a:cubicBezTo>
                          <a:pt x="0" y="80"/>
                          <a:pt x="0" y="80"/>
                          <a:pt x="0" y="80"/>
                        </a:cubicBezTo>
                        <a:cubicBezTo>
                          <a:pt x="0" y="36"/>
                          <a:pt x="36" y="0"/>
                          <a:pt x="80" y="0"/>
                        </a:cubicBezTo>
                        <a:cubicBezTo>
                          <a:pt x="565" y="0"/>
                          <a:pt x="565" y="0"/>
                          <a:pt x="565" y="0"/>
                        </a:cubicBezTo>
                        <a:cubicBezTo>
                          <a:pt x="609" y="0"/>
                          <a:pt x="645" y="36"/>
                          <a:pt x="645" y="80"/>
                        </a:cubicBezTo>
                        <a:cubicBezTo>
                          <a:pt x="645" y="359"/>
                          <a:pt x="645" y="359"/>
                          <a:pt x="645" y="359"/>
                        </a:cubicBezTo>
                        <a:cubicBezTo>
                          <a:pt x="645" y="404"/>
                          <a:pt x="609" y="440"/>
                          <a:pt x="565" y="440"/>
                        </a:cubicBezTo>
                        <a:close/>
                        <a:moveTo>
                          <a:pt x="80" y="24"/>
                        </a:moveTo>
                        <a:cubicBezTo>
                          <a:pt x="49" y="24"/>
                          <a:pt x="24" y="49"/>
                          <a:pt x="24" y="80"/>
                        </a:cubicBezTo>
                        <a:cubicBezTo>
                          <a:pt x="24" y="359"/>
                          <a:pt x="24" y="359"/>
                          <a:pt x="24" y="359"/>
                        </a:cubicBezTo>
                        <a:cubicBezTo>
                          <a:pt x="24" y="391"/>
                          <a:pt x="49" y="416"/>
                          <a:pt x="80" y="416"/>
                        </a:cubicBezTo>
                        <a:cubicBezTo>
                          <a:pt x="565" y="416"/>
                          <a:pt x="565" y="416"/>
                          <a:pt x="565" y="416"/>
                        </a:cubicBezTo>
                        <a:cubicBezTo>
                          <a:pt x="596" y="416"/>
                          <a:pt x="621" y="391"/>
                          <a:pt x="621" y="359"/>
                        </a:cubicBezTo>
                        <a:cubicBezTo>
                          <a:pt x="621" y="80"/>
                          <a:pt x="621" y="80"/>
                          <a:pt x="621" y="80"/>
                        </a:cubicBezTo>
                        <a:cubicBezTo>
                          <a:pt x="621" y="49"/>
                          <a:pt x="596" y="24"/>
                          <a:pt x="565" y="24"/>
                        </a:cubicBezTo>
                        <a:lnTo>
                          <a:pt x="80" y="24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8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1901825" y="2949575"/>
                    <a:ext cx="565150" cy="381000"/>
                  </a:xfrm>
                  <a:custGeom>
                    <a:avLst/>
                    <a:gdLst>
                      <a:gd name="T0" fmla="*/ 489 w 501"/>
                      <a:gd name="T1" fmla="*/ 338 h 338"/>
                      <a:gd name="T2" fmla="*/ 12 w 501"/>
                      <a:gd name="T3" fmla="*/ 338 h 338"/>
                      <a:gd name="T4" fmla="*/ 0 w 501"/>
                      <a:gd name="T5" fmla="*/ 326 h 338"/>
                      <a:gd name="T6" fmla="*/ 0 w 501"/>
                      <a:gd name="T7" fmla="*/ 12 h 338"/>
                      <a:gd name="T8" fmla="*/ 12 w 501"/>
                      <a:gd name="T9" fmla="*/ 0 h 338"/>
                      <a:gd name="T10" fmla="*/ 489 w 501"/>
                      <a:gd name="T11" fmla="*/ 0 h 338"/>
                      <a:gd name="T12" fmla="*/ 501 w 501"/>
                      <a:gd name="T13" fmla="*/ 12 h 338"/>
                      <a:gd name="T14" fmla="*/ 501 w 501"/>
                      <a:gd name="T15" fmla="*/ 326 h 338"/>
                      <a:gd name="T16" fmla="*/ 489 w 501"/>
                      <a:gd name="T17" fmla="*/ 338 h 338"/>
                      <a:gd name="T18" fmla="*/ 24 w 501"/>
                      <a:gd name="T19" fmla="*/ 314 h 338"/>
                      <a:gd name="T20" fmla="*/ 477 w 501"/>
                      <a:gd name="T21" fmla="*/ 314 h 338"/>
                      <a:gd name="T22" fmla="*/ 477 w 501"/>
                      <a:gd name="T23" fmla="*/ 24 h 338"/>
                      <a:gd name="T24" fmla="*/ 24 w 501"/>
                      <a:gd name="T25" fmla="*/ 24 h 338"/>
                      <a:gd name="T26" fmla="*/ 24 w 501"/>
                      <a:gd name="T27" fmla="*/ 314 h 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01" h="338">
                        <a:moveTo>
                          <a:pt x="489" y="338"/>
                        </a:moveTo>
                        <a:cubicBezTo>
                          <a:pt x="12" y="338"/>
                          <a:pt x="12" y="338"/>
                          <a:pt x="12" y="338"/>
                        </a:cubicBezTo>
                        <a:cubicBezTo>
                          <a:pt x="5" y="338"/>
                          <a:pt x="0" y="333"/>
                          <a:pt x="0" y="326"/>
                        </a:cubicBezTo>
                        <a:cubicBezTo>
                          <a:pt x="0" y="12"/>
                          <a:pt x="0" y="12"/>
                          <a:pt x="0" y="12"/>
                        </a:cubicBezTo>
                        <a:cubicBezTo>
                          <a:pt x="0" y="6"/>
                          <a:pt x="5" y="0"/>
                          <a:pt x="12" y="0"/>
                        </a:cubicBezTo>
                        <a:cubicBezTo>
                          <a:pt x="489" y="0"/>
                          <a:pt x="489" y="0"/>
                          <a:pt x="489" y="0"/>
                        </a:cubicBezTo>
                        <a:cubicBezTo>
                          <a:pt x="495" y="0"/>
                          <a:pt x="501" y="6"/>
                          <a:pt x="501" y="12"/>
                        </a:cubicBezTo>
                        <a:cubicBezTo>
                          <a:pt x="501" y="326"/>
                          <a:pt x="501" y="326"/>
                          <a:pt x="501" y="326"/>
                        </a:cubicBezTo>
                        <a:cubicBezTo>
                          <a:pt x="501" y="333"/>
                          <a:pt x="495" y="338"/>
                          <a:pt x="489" y="338"/>
                        </a:cubicBezTo>
                        <a:close/>
                        <a:moveTo>
                          <a:pt x="24" y="314"/>
                        </a:moveTo>
                        <a:cubicBezTo>
                          <a:pt x="477" y="314"/>
                          <a:pt x="477" y="314"/>
                          <a:pt x="477" y="314"/>
                        </a:cubicBezTo>
                        <a:cubicBezTo>
                          <a:pt x="477" y="24"/>
                          <a:pt x="477" y="24"/>
                          <a:pt x="477" y="24"/>
                        </a:cubicBezTo>
                        <a:cubicBezTo>
                          <a:pt x="24" y="24"/>
                          <a:pt x="24" y="24"/>
                          <a:pt x="24" y="24"/>
                        </a:cubicBezTo>
                        <a:lnTo>
                          <a:pt x="24" y="314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79" name="Group 56"/>
                <p:cNvGrpSpPr>
                  <a:grpSpLocks noChangeAspect="1"/>
                </p:cNvGrpSpPr>
                <p:nvPr/>
              </p:nvGrpSpPr>
              <p:grpSpPr bwMode="auto">
                <a:xfrm rot="18370721">
                  <a:off x="3225396" y="3491873"/>
                  <a:ext cx="428831" cy="326395"/>
                  <a:chOff x="2608" y="1885"/>
                  <a:chExt cx="410" cy="324"/>
                </a:xfrm>
              </p:grpSpPr>
              <p:sp>
                <p:nvSpPr>
                  <p:cNvPr id="107" name="AutoShape 55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2608" y="1885"/>
                    <a:ext cx="410" cy="32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8" name="Oval 57"/>
                  <p:cNvSpPr>
                    <a:spLocks noChangeArrowheads="1"/>
                  </p:cNvSpPr>
                  <p:nvPr/>
                </p:nvSpPr>
                <p:spPr bwMode="auto">
                  <a:xfrm>
                    <a:off x="2797" y="2181"/>
                    <a:ext cx="30" cy="28"/>
                  </a:xfrm>
                  <a:prstGeom prst="ellipse">
                    <a:avLst/>
                  </a:pr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9" name="Line 58"/>
                  <p:cNvSpPr>
                    <a:spLocks noChangeShapeType="1"/>
                  </p:cNvSpPr>
                  <p:nvPr/>
                </p:nvSpPr>
                <p:spPr bwMode="auto">
                  <a:xfrm>
                    <a:off x="2812" y="2195"/>
                    <a:ext cx="0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0" name="Line 59"/>
                  <p:cNvSpPr>
                    <a:spLocks noChangeShapeType="1"/>
                  </p:cNvSpPr>
                  <p:nvPr/>
                </p:nvSpPr>
                <p:spPr bwMode="auto">
                  <a:xfrm>
                    <a:off x="2812" y="2195"/>
                    <a:ext cx="0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1" name="Freeform 60"/>
                  <p:cNvSpPr>
                    <a:spLocks/>
                  </p:cNvSpPr>
                  <p:nvPr/>
                </p:nvSpPr>
                <p:spPr bwMode="auto">
                  <a:xfrm>
                    <a:off x="2729" y="2085"/>
                    <a:ext cx="168" cy="47"/>
                  </a:xfrm>
                  <a:custGeom>
                    <a:avLst/>
                    <a:gdLst>
                      <a:gd name="T0" fmla="*/ 17 w 238"/>
                      <a:gd name="T1" fmla="*/ 66 h 66"/>
                      <a:gd name="T2" fmla="*/ 5 w 238"/>
                      <a:gd name="T3" fmla="*/ 60 h 66"/>
                      <a:gd name="T4" fmla="*/ 8 w 238"/>
                      <a:gd name="T5" fmla="*/ 38 h 66"/>
                      <a:gd name="T6" fmla="*/ 121 w 238"/>
                      <a:gd name="T7" fmla="*/ 0 h 66"/>
                      <a:gd name="T8" fmla="*/ 230 w 238"/>
                      <a:gd name="T9" fmla="*/ 35 h 66"/>
                      <a:gd name="T10" fmla="*/ 233 w 238"/>
                      <a:gd name="T11" fmla="*/ 56 h 66"/>
                      <a:gd name="T12" fmla="*/ 212 w 238"/>
                      <a:gd name="T13" fmla="*/ 60 h 66"/>
                      <a:gd name="T14" fmla="*/ 121 w 238"/>
                      <a:gd name="T15" fmla="*/ 31 h 66"/>
                      <a:gd name="T16" fmla="*/ 26 w 238"/>
                      <a:gd name="T17" fmla="*/ 63 h 66"/>
                      <a:gd name="T18" fmla="*/ 17 w 238"/>
                      <a:gd name="T19" fmla="*/ 66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8" h="66">
                        <a:moveTo>
                          <a:pt x="17" y="66"/>
                        </a:moveTo>
                        <a:cubicBezTo>
                          <a:pt x="12" y="66"/>
                          <a:pt x="8" y="64"/>
                          <a:pt x="5" y="60"/>
                        </a:cubicBezTo>
                        <a:cubicBezTo>
                          <a:pt x="0" y="53"/>
                          <a:pt x="1" y="43"/>
                          <a:pt x="8" y="38"/>
                        </a:cubicBezTo>
                        <a:cubicBezTo>
                          <a:pt x="41" y="13"/>
                          <a:pt x="80" y="0"/>
                          <a:pt x="121" y="0"/>
                        </a:cubicBezTo>
                        <a:cubicBezTo>
                          <a:pt x="160" y="0"/>
                          <a:pt x="198" y="12"/>
                          <a:pt x="230" y="35"/>
                        </a:cubicBezTo>
                        <a:cubicBezTo>
                          <a:pt x="237" y="40"/>
                          <a:pt x="238" y="49"/>
                          <a:pt x="233" y="56"/>
                        </a:cubicBezTo>
                        <a:cubicBezTo>
                          <a:pt x="228" y="63"/>
                          <a:pt x="219" y="65"/>
                          <a:pt x="212" y="60"/>
                        </a:cubicBezTo>
                        <a:cubicBezTo>
                          <a:pt x="185" y="41"/>
                          <a:pt x="154" y="31"/>
                          <a:pt x="121" y="31"/>
                        </a:cubicBezTo>
                        <a:cubicBezTo>
                          <a:pt x="87" y="31"/>
                          <a:pt x="54" y="42"/>
                          <a:pt x="26" y="63"/>
                        </a:cubicBezTo>
                        <a:cubicBezTo>
                          <a:pt x="24" y="65"/>
                          <a:pt x="20" y="66"/>
                          <a:pt x="17" y="6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2" name="Freeform 61"/>
                  <p:cNvSpPr>
                    <a:spLocks/>
                  </p:cNvSpPr>
                  <p:nvPr/>
                </p:nvSpPr>
                <p:spPr bwMode="auto">
                  <a:xfrm>
                    <a:off x="2671" y="1990"/>
                    <a:ext cx="284" cy="68"/>
                  </a:xfrm>
                  <a:custGeom>
                    <a:avLst/>
                    <a:gdLst>
                      <a:gd name="T0" fmla="*/ 17 w 400"/>
                      <a:gd name="T1" fmla="*/ 96 h 96"/>
                      <a:gd name="T2" fmla="*/ 6 w 400"/>
                      <a:gd name="T3" fmla="*/ 90 h 96"/>
                      <a:gd name="T4" fmla="*/ 8 w 400"/>
                      <a:gd name="T5" fmla="*/ 69 h 96"/>
                      <a:gd name="T6" fmla="*/ 202 w 400"/>
                      <a:gd name="T7" fmla="*/ 0 h 96"/>
                      <a:gd name="T8" fmla="*/ 392 w 400"/>
                      <a:gd name="T9" fmla="*/ 65 h 96"/>
                      <a:gd name="T10" fmla="*/ 395 w 400"/>
                      <a:gd name="T11" fmla="*/ 87 h 96"/>
                      <a:gd name="T12" fmla="*/ 373 w 400"/>
                      <a:gd name="T13" fmla="*/ 89 h 96"/>
                      <a:gd name="T14" fmla="*/ 202 w 400"/>
                      <a:gd name="T15" fmla="*/ 30 h 96"/>
                      <a:gd name="T16" fmla="*/ 27 w 400"/>
                      <a:gd name="T17" fmla="*/ 92 h 96"/>
                      <a:gd name="T18" fmla="*/ 17 w 400"/>
                      <a:gd name="T19" fmla="*/ 96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00" h="96">
                        <a:moveTo>
                          <a:pt x="17" y="96"/>
                        </a:moveTo>
                        <a:cubicBezTo>
                          <a:pt x="13" y="96"/>
                          <a:pt x="9" y="94"/>
                          <a:pt x="6" y="90"/>
                        </a:cubicBezTo>
                        <a:cubicBezTo>
                          <a:pt x="0" y="84"/>
                          <a:pt x="1" y="74"/>
                          <a:pt x="8" y="69"/>
                        </a:cubicBezTo>
                        <a:cubicBezTo>
                          <a:pt x="62" y="24"/>
                          <a:pt x="131" y="0"/>
                          <a:pt x="202" y="0"/>
                        </a:cubicBezTo>
                        <a:cubicBezTo>
                          <a:pt x="272" y="0"/>
                          <a:pt x="337" y="22"/>
                          <a:pt x="392" y="65"/>
                        </a:cubicBezTo>
                        <a:cubicBezTo>
                          <a:pt x="399" y="70"/>
                          <a:pt x="400" y="80"/>
                          <a:pt x="395" y="87"/>
                        </a:cubicBezTo>
                        <a:cubicBezTo>
                          <a:pt x="389" y="93"/>
                          <a:pt x="380" y="94"/>
                          <a:pt x="373" y="89"/>
                        </a:cubicBezTo>
                        <a:cubicBezTo>
                          <a:pt x="324" y="51"/>
                          <a:pt x="265" y="30"/>
                          <a:pt x="202" y="30"/>
                        </a:cubicBezTo>
                        <a:cubicBezTo>
                          <a:pt x="138" y="30"/>
                          <a:pt x="76" y="52"/>
                          <a:pt x="27" y="92"/>
                        </a:cubicBezTo>
                        <a:cubicBezTo>
                          <a:pt x="24" y="95"/>
                          <a:pt x="21" y="96"/>
                          <a:pt x="17" y="9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3" name="Freeform 62"/>
                  <p:cNvSpPr>
                    <a:spLocks/>
                  </p:cNvSpPr>
                  <p:nvPr/>
                </p:nvSpPr>
                <p:spPr bwMode="auto">
                  <a:xfrm>
                    <a:off x="2671" y="1990"/>
                    <a:ext cx="284" cy="68"/>
                  </a:xfrm>
                  <a:custGeom>
                    <a:avLst/>
                    <a:gdLst>
                      <a:gd name="T0" fmla="*/ 17 w 400"/>
                      <a:gd name="T1" fmla="*/ 96 h 96"/>
                      <a:gd name="T2" fmla="*/ 6 w 400"/>
                      <a:gd name="T3" fmla="*/ 90 h 96"/>
                      <a:gd name="T4" fmla="*/ 8 w 400"/>
                      <a:gd name="T5" fmla="*/ 69 h 96"/>
                      <a:gd name="T6" fmla="*/ 202 w 400"/>
                      <a:gd name="T7" fmla="*/ 0 h 96"/>
                      <a:gd name="T8" fmla="*/ 392 w 400"/>
                      <a:gd name="T9" fmla="*/ 65 h 96"/>
                      <a:gd name="T10" fmla="*/ 395 w 400"/>
                      <a:gd name="T11" fmla="*/ 87 h 96"/>
                      <a:gd name="T12" fmla="*/ 373 w 400"/>
                      <a:gd name="T13" fmla="*/ 89 h 96"/>
                      <a:gd name="T14" fmla="*/ 202 w 400"/>
                      <a:gd name="T15" fmla="*/ 30 h 96"/>
                      <a:gd name="T16" fmla="*/ 27 w 400"/>
                      <a:gd name="T17" fmla="*/ 92 h 96"/>
                      <a:gd name="T18" fmla="*/ 17 w 400"/>
                      <a:gd name="T19" fmla="*/ 96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00" h="96">
                        <a:moveTo>
                          <a:pt x="17" y="96"/>
                        </a:moveTo>
                        <a:cubicBezTo>
                          <a:pt x="13" y="96"/>
                          <a:pt x="9" y="94"/>
                          <a:pt x="6" y="90"/>
                        </a:cubicBezTo>
                        <a:cubicBezTo>
                          <a:pt x="0" y="84"/>
                          <a:pt x="1" y="74"/>
                          <a:pt x="8" y="69"/>
                        </a:cubicBezTo>
                        <a:cubicBezTo>
                          <a:pt x="62" y="24"/>
                          <a:pt x="131" y="0"/>
                          <a:pt x="202" y="0"/>
                        </a:cubicBezTo>
                        <a:cubicBezTo>
                          <a:pt x="272" y="0"/>
                          <a:pt x="337" y="22"/>
                          <a:pt x="392" y="65"/>
                        </a:cubicBezTo>
                        <a:cubicBezTo>
                          <a:pt x="399" y="70"/>
                          <a:pt x="400" y="80"/>
                          <a:pt x="395" y="87"/>
                        </a:cubicBezTo>
                        <a:cubicBezTo>
                          <a:pt x="389" y="93"/>
                          <a:pt x="380" y="94"/>
                          <a:pt x="373" y="89"/>
                        </a:cubicBezTo>
                        <a:cubicBezTo>
                          <a:pt x="324" y="51"/>
                          <a:pt x="265" y="30"/>
                          <a:pt x="202" y="30"/>
                        </a:cubicBezTo>
                        <a:cubicBezTo>
                          <a:pt x="138" y="30"/>
                          <a:pt x="76" y="52"/>
                          <a:pt x="27" y="92"/>
                        </a:cubicBezTo>
                        <a:cubicBezTo>
                          <a:pt x="24" y="95"/>
                          <a:pt x="21" y="96"/>
                          <a:pt x="17" y="9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14" name="Freeform 63"/>
                  <p:cNvSpPr>
                    <a:spLocks/>
                  </p:cNvSpPr>
                  <p:nvPr/>
                </p:nvSpPr>
                <p:spPr bwMode="auto">
                  <a:xfrm>
                    <a:off x="2607" y="1885"/>
                    <a:ext cx="412" cy="90"/>
                  </a:xfrm>
                  <a:custGeom>
                    <a:avLst/>
                    <a:gdLst>
                      <a:gd name="T0" fmla="*/ 17 w 582"/>
                      <a:gd name="T1" fmla="*/ 126 h 126"/>
                      <a:gd name="T2" fmla="*/ 5 w 582"/>
                      <a:gd name="T3" fmla="*/ 120 h 126"/>
                      <a:gd name="T4" fmla="*/ 8 w 582"/>
                      <a:gd name="T5" fmla="*/ 99 h 126"/>
                      <a:gd name="T6" fmla="*/ 293 w 582"/>
                      <a:gd name="T7" fmla="*/ 0 h 126"/>
                      <a:gd name="T8" fmla="*/ 574 w 582"/>
                      <a:gd name="T9" fmla="*/ 95 h 126"/>
                      <a:gd name="T10" fmla="*/ 577 w 582"/>
                      <a:gd name="T11" fmla="*/ 117 h 126"/>
                      <a:gd name="T12" fmla="*/ 556 w 582"/>
                      <a:gd name="T13" fmla="*/ 120 h 126"/>
                      <a:gd name="T14" fmla="*/ 293 w 582"/>
                      <a:gd name="T15" fmla="*/ 31 h 126"/>
                      <a:gd name="T16" fmla="*/ 26 w 582"/>
                      <a:gd name="T17" fmla="*/ 123 h 126"/>
                      <a:gd name="T18" fmla="*/ 17 w 582"/>
                      <a:gd name="T19" fmla="*/ 126 h 1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82" h="126">
                        <a:moveTo>
                          <a:pt x="17" y="126"/>
                        </a:moveTo>
                        <a:cubicBezTo>
                          <a:pt x="12" y="126"/>
                          <a:pt x="8" y="124"/>
                          <a:pt x="5" y="120"/>
                        </a:cubicBezTo>
                        <a:cubicBezTo>
                          <a:pt x="0" y="114"/>
                          <a:pt x="1" y="104"/>
                          <a:pt x="8" y="99"/>
                        </a:cubicBezTo>
                        <a:cubicBezTo>
                          <a:pt x="90" y="34"/>
                          <a:pt x="188" y="0"/>
                          <a:pt x="293" y="0"/>
                        </a:cubicBezTo>
                        <a:cubicBezTo>
                          <a:pt x="396" y="0"/>
                          <a:pt x="493" y="33"/>
                          <a:pt x="574" y="95"/>
                        </a:cubicBezTo>
                        <a:cubicBezTo>
                          <a:pt x="581" y="100"/>
                          <a:pt x="582" y="110"/>
                          <a:pt x="577" y="117"/>
                        </a:cubicBezTo>
                        <a:cubicBezTo>
                          <a:pt x="572" y="123"/>
                          <a:pt x="562" y="125"/>
                          <a:pt x="556" y="120"/>
                        </a:cubicBezTo>
                        <a:cubicBezTo>
                          <a:pt x="480" y="62"/>
                          <a:pt x="389" y="31"/>
                          <a:pt x="293" y="31"/>
                        </a:cubicBezTo>
                        <a:cubicBezTo>
                          <a:pt x="195" y="31"/>
                          <a:pt x="103" y="63"/>
                          <a:pt x="26" y="123"/>
                        </a:cubicBezTo>
                        <a:cubicBezTo>
                          <a:pt x="24" y="125"/>
                          <a:pt x="20" y="126"/>
                          <a:pt x="17" y="12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80" name="Group 121"/>
                <p:cNvGrpSpPr>
                  <a:grpSpLocks noChangeAspect="1"/>
                </p:cNvGrpSpPr>
                <p:nvPr/>
              </p:nvGrpSpPr>
              <p:grpSpPr>
                <a:xfrm>
                  <a:off x="2046430" y="3508233"/>
                  <a:ext cx="551245" cy="256672"/>
                  <a:chOff x="706438" y="2035175"/>
                  <a:chExt cx="8686800" cy="3895724"/>
                </a:xfrm>
              </p:grpSpPr>
              <p:sp>
                <p:nvSpPr>
                  <p:cNvPr id="100" name="Freeform 158"/>
                  <p:cNvSpPr>
                    <a:spLocks noEditPoints="1"/>
                  </p:cNvSpPr>
                  <p:nvPr/>
                </p:nvSpPr>
                <p:spPr bwMode="auto">
                  <a:xfrm>
                    <a:off x="706438" y="2035175"/>
                    <a:ext cx="5578480" cy="2273297"/>
                  </a:xfrm>
                  <a:custGeom>
                    <a:avLst/>
                    <a:gdLst>
                      <a:gd name="T0" fmla="*/ 568 w 585"/>
                      <a:gd name="T1" fmla="*/ 238 h 238"/>
                      <a:gd name="T2" fmla="*/ 19 w 585"/>
                      <a:gd name="T3" fmla="*/ 238 h 238"/>
                      <a:gd name="T4" fmla="*/ 2 w 585"/>
                      <a:gd name="T5" fmla="*/ 221 h 238"/>
                      <a:gd name="T6" fmla="*/ 2 w 585"/>
                      <a:gd name="T7" fmla="*/ 67 h 238"/>
                      <a:gd name="T8" fmla="*/ 18 w 585"/>
                      <a:gd name="T9" fmla="*/ 18 h 238"/>
                      <a:gd name="T10" fmla="*/ 63 w 585"/>
                      <a:gd name="T11" fmla="*/ 0 h 238"/>
                      <a:gd name="T12" fmla="*/ 568 w 585"/>
                      <a:gd name="T13" fmla="*/ 0 h 238"/>
                      <a:gd name="T14" fmla="*/ 585 w 585"/>
                      <a:gd name="T15" fmla="*/ 17 h 238"/>
                      <a:gd name="T16" fmla="*/ 585 w 585"/>
                      <a:gd name="T17" fmla="*/ 221 h 238"/>
                      <a:gd name="T18" fmla="*/ 568 w 585"/>
                      <a:gd name="T19" fmla="*/ 238 h 238"/>
                      <a:gd name="T20" fmla="*/ 36 w 585"/>
                      <a:gd name="T21" fmla="*/ 205 h 238"/>
                      <a:gd name="T22" fmla="*/ 551 w 585"/>
                      <a:gd name="T23" fmla="*/ 205 h 238"/>
                      <a:gd name="T24" fmla="*/ 551 w 585"/>
                      <a:gd name="T25" fmla="*/ 33 h 238"/>
                      <a:gd name="T26" fmla="*/ 63 w 585"/>
                      <a:gd name="T27" fmla="*/ 33 h 238"/>
                      <a:gd name="T28" fmla="*/ 42 w 585"/>
                      <a:gd name="T29" fmla="*/ 40 h 238"/>
                      <a:gd name="T30" fmla="*/ 36 w 585"/>
                      <a:gd name="T31" fmla="*/ 65 h 238"/>
                      <a:gd name="T32" fmla="*/ 36 w 585"/>
                      <a:gd name="T33" fmla="*/ 205 h 2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585" h="238">
                        <a:moveTo>
                          <a:pt x="568" y="238"/>
                        </a:moveTo>
                        <a:cubicBezTo>
                          <a:pt x="19" y="238"/>
                          <a:pt x="19" y="238"/>
                          <a:pt x="19" y="238"/>
                        </a:cubicBezTo>
                        <a:cubicBezTo>
                          <a:pt x="10" y="238"/>
                          <a:pt x="2" y="231"/>
                          <a:pt x="2" y="221"/>
                        </a:cubicBezTo>
                        <a:cubicBezTo>
                          <a:pt x="2" y="67"/>
                          <a:pt x="2" y="67"/>
                          <a:pt x="2" y="67"/>
                        </a:cubicBezTo>
                        <a:cubicBezTo>
                          <a:pt x="2" y="65"/>
                          <a:pt x="0" y="38"/>
                          <a:pt x="18" y="18"/>
                        </a:cubicBezTo>
                        <a:cubicBezTo>
                          <a:pt x="25" y="10"/>
                          <a:pt x="39" y="0"/>
                          <a:pt x="63" y="0"/>
                        </a:cubicBezTo>
                        <a:cubicBezTo>
                          <a:pt x="568" y="0"/>
                          <a:pt x="568" y="0"/>
                          <a:pt x="568" y="0"/>
                        </a:cubicBezTo>
                        <a:cubicBezTo>
                          <a:pt x="577" y="0"/>
                          <a:pt x="585" y="7"/>
                          <a:pt x="585" y="17"/>
                        </a:cubicBezTo>
                        <a:cubicBezTo>
                          <a:pt x="585" y="221"/>
                          <a:pt x="585" y="221"/>
                          <a:pt x="585" y="221"/>
                        </a:cubicBezTo>
                        <a:cubicBezTo>
                          <a:pt x="585" y="231"/>
                          <a:pt x="577" y="238"/>
                          <a:pt x="568" y="238"/>
                        </a:cubicBezTo>
                        <a:close/>
                        <a:moveTo>
                          <a:pt x="36" y="205"/>
                        </a:moveTo>
                        <a:cubicBezTo>
                          <a:pt x="551" y="205"/>
                          <a:pt x="551" y="205"/>
                          <a:pt x="551" y="205"/>
                        </a:cubicBezTo>
                        <a:cubicBezTo>
                          <a:pt x="551" y="33"/>
                          <a:pt x="551" y="33"/>
                          <a:pt x="551" y="33"/>
                        </a:cubicBezTo>
                        <a:cubicBezTo>
                          <a:pt x="63" y="33"/>
                          <a:pt x="63" y="33"/>
                          <a:pt x="63" y="33"/>
                        </a:cubicBezTo>
                        <a:cubicBezTo>
                          <a:pt x="53" y="33"/>
                          <a:pt x="47" y="36"/>
                          <a:pt x="42" y="40"/>
                        </a:cubicBezTo>
                        <a:cubicBezTo>
                          <a:pt x="35" y="48"/>
                          <a:pt x="35" y="62"/>
                          <a:pt x="36" y="65"/>
                        </a:cubicBezTo>
                        <a:lnTo>
                          <a:pt x="36" y="205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1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6923088" y="2035175"/>
                    <a:ext cx="2470150" cy="3275015"/>
                  </a:xfrm>
                  <a:custGeom>
                    <a:avLst/>
                    <a:gdLst>
                      <a:gd name="T0" fmla="*/ 242 w 259"/>
                      <a:gd name="T1" fmla="*/ 343 h 343"/>
                      <a:gd name="T2" fmla="*/ 91 w 259"/>
                      <a:gd name="T3" fmla="*/ 343 h 343"/>
                      <a:gd name="T4" fmla="*/ 75 w 259"/>
                      <a:gd name="T5" fmla="*/ 327 h 343"/>
                      <a:gd name="T6" fmla="*/ 91 w 259"/>
                      <a:gd name="T7" fmla="*/ 310 h 343"/>
                      <a:gd name="T8" fmla="*/ 225 w 259"/>
                      <a:gd name="T9" fmla="*/ 310 h 343"/>
                      <a:gd name="T10" fmla="*/ 225 w 259"/>
                      <a:gd name="T11" fmla="*/ 232 h 343"/>
                      <a:gd name="T12" fmla="*/ 188 w 259"/>
                      <a:gd name="T13" fmla="*/ 188 h 343"/>
                      <a:gd name="T14" fmla="*/ 16 w 259"/>
                      <a:gd name="T15" fmla="*/ 188 h 343"/>
                      <a:gd name="T16" fmla="*/ 0 w 259"/>
                      <a:gd name="T17" fmla="*/ 172 h 343"/>
                      <a:gd name="T18" fmla="*/ 0 w 259"/>
                      <a:gd name="T19" fmla="*/ 17 h 343"/>
                      <a:gd name="T20" fmla="*/ 16 w 259"/>
                      <a:gd name="T21" fmla="*/ 0 h 343"/>
                      <a:gd name="T22" fmla="*/ 107 w 259"/>
                      <a:gd name="T23" fmla="*/ 0 h 343"/>
                      <a:gd name="T24" fmla="*/ 151 w 259"/>
                      <a:gd name="T25" fmla="*/ 18 h 343"/>
                      <a:gd name="T26" fmla="*/ 171 w 259"/>
                      <a:gd name="T27" fmla="*/ 69 h 343"/>
                      <a:gd name="T28" fmla="*/ 171 w 259"/>
                      <a:gd name="T29" fmla="*/ 155 h 343"/>
                      <a:gd name="T30" fmla="*/ 188 w 259"/>
                      <a:gd name="T31" fmla="*/ 155 h 343"/>
                      <a:gd name="T32" fmla="*/ 259 w 259"/>
                      <a:gd name="T33" fmla="*/ 232 h 343"/>
                      <a:gd name="T34" fmla="*/ 259 w 259"/>
                      <a:gd name="T35" fmla="*/ 327 h 343"/>
                      <a:gd name="T36" fmla="*/ 242 w 259"/>
                      <a:gd name="T37" fmla="*/ 343 h 343"/>
                      <a:gd name="T38" fmla="*/ 33 w 259"/>
                      <a:gd name="T39" fmla="*/ 155 h 343"/>
                      <a:gd name="T40" fmla="*/ 137 w 259"/>
                      <a:gd name="T41" fmla="*/ 155 h 343"/>
                      <a:gd name="T42" fmla="*/ 137 w 259"/>
                      <a:gd name="T43" fmla="*/ 69 h 343"/>
                      <a:gd name="T44" fmla="*/ 128 w 259"/>
                      <a:gd name="T45" fmla="*/ 42 h 343"/>
                      <a:gd name="T46" fmla="*/ 107 w 259"/>
                      <a:gd name="T47" fmla="*/ 33 h 343"/>
                      <a:gd name="T48" fmla="*/ 107 w 259"/>
                      <a:gd name="T49" fmla="*/ 33 h 343"/>
                      <a:gd name="T50" fmla="*/ 33 w 259"/>
                      <a:gd name="T51" fmla="*/ 33 h 343"/>
                      <a:gd name="T52" fmla="*/ 33 w 259"/>
                      <a:gd name="T53" fmla="*/ 155 h 3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259" h="343">
                        <a:moveTo>
                          <a:pt x="242" y="343"/>
                        </a:moveTo>
                        <a:cubicBezTo>
                          <a:pt x="91" y="343"/>
                          <a:pt x="91" y="343"/>
                          <a:pt x="91" y="343"/>
                        </a:cubicBezTo>
                        <a:cubicBezTo>
                          <a:pt x="82" y="343"/>
                          <a:pt x="75" y="336"/>
                          <a:pt x="75" y="327"/>
                        </a:cubicBezTo>
                        <a:cubicBezTo>
                          <a:pt x="75" y="317"/>
                          <a:pt x="82" y="310"/>
                          <a:pt x="91" y="310"/>
                        </a:cubicBezTo>
                        <a:cubicBezTo>
                          <a:pt x="225" y="310"/>
                          <a:pt x="225" y="310"/>
                          <a:pt x="225" y="310"/>
                        </a:cubicBezTo>
                        <a:cubicBezTo>
                          <a:pt x="225" y="232"/>
                          <a:pt x="225" y="232"/>
                          <a:pt x="225" y="232"/>
                        </a:cubicBezTo>
                        <a:cubicBezTo>
                          <a:pt x="225" y="190"/>
                          <a:pt x="192" y="188"/>
                          <a:pt x="188" y="188"/>
                        </a:cubicBezTo>
                        <a:cubicBezTo>
                          <a:pt x="16" y="188"/>
                          <a:pt x="16" y="188"/>
                          <a:pt x="16" y="188"/>
                        </a:cubicBezTo>
                        <a:cubicBezTo>
                          <a:pt x="7" y="188"/>
                          <a:pt x="0" y="181"/>
                          <a:pt x="0" y="172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107" y="0"/>
                          <a:pt x="107" y="0"/>
                          <a:pt x="107" y="0"/>
                        </a:cubicBezTo>
                        <a:cubicBezTo>
                          <a:pt x="109" y="0"/>
                          <a:pt x="133" y="0"/>
                          <a:pt x="151" y="18"/>
                        </a:cubicBezTo>
                        <a:cubicBezTo>
                          <a:pt x="164" y="30"/>
                          <a:pt x="171" y="48"/>
                          <a:pt x="171" y="69"/>
                        </a:cubicBezTo>
                        <a:cubicBezTo>
                          <a:pt x="171" y="155"/>
                          <a:pt x="171" y="155"/>
                          <a:pt x="171" y="155"/>
                        </a:cubicBezTo>
                        <a:cubicBezTo>
                          <a:pt x="188" y="155"/>
                          <a:pt x="188" y="155"/>
                          <a:pt x="188" y="155"/>
                        </a:cubicBezTo>
                        <a:cubicBezTo>
                          <a:pt x="208" y="155"/>
                          <a:pt x="259" y="169"/>
                          <a:pt x="259" y="232"/>
                        </a:cubicBezTo>
                        <a:cubicBezTo>
                          <a:pt x="259" y="327"/>
                          <a:pt x="259" y="327"/>
                          <a:pt x="259" y="327"/>
                        </a:cubicBezTo>
                        <a:cubicBezTo>
                          <a:pt x="259" y="336"/>
                          <a:pt x="251" y="343"/>
                          <a:pt x="242" y="343"/>
                        </a:cubicBezTo>
                        <a:close/>
                        <a:moveTo>
                          <a:pt x="33" y="155"/>
                        </a:moveTo>
                        <a:cubicBezTo>
                          <a:pt x="137" y="155"/>
                          <a:pt x="137" y="155"/>
                          <a:pt x="137" y="155"/>
                        </a:cubicBezTo>
                        <a:cubicBezTo>
                          <a:pt x="137" y="69"/>
                          <a:pt x="137" y="69"/>
                          <a:pt x="137" y="69"/>
                        </a:cubicBezTo>
                        <a:cubicBezTo>
                          <a:pt x="137" y="57"/>
                          <a:pt x="134" y="48"/>
                          <a:pt x="128" y="42"/>
                        </a:cubicBezTo>
                        <a:cubicBezTo>
                          <a:pt x="120" y="34"/>
                          <a:pt x="107" y="33"/>
                          <a:pt x="107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33" y="33"/>
                          <a:pt x="33" y="33"/>
                          <a:pt x="33" y="33"/>
                        </a:cubicBezTo>
                        <a:lnTo>
                          <a:pt x="33" y="155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2" name="Freeform 160"/>
                  <p:cNvSpPr>
                    <a:spLocks/>
                  </p:cNvSpPr>
                  <p:nvPr/>
                </p:nvSpPr>
                <p:spPr bwMode="auto">
                  <a:xfrm>
                    <a:off x="725488" y="4995861"/>
                    <a:ext cx="1049340" cy="314329"/>
                  </a:xfrm>
                  <a:custGeom>
                    <a:avLst/>
                    <a:gdLst>
                      <a:gd name="T0" fmla="*/ 93 w 110"/>
                      <a:gd name="T1" fmla="*/ 33 h 33"/>
                      <a:gd name="T2" fmla="*/ 17 w 110"/>
                      <a:gd name="T3" fmla="*/ 33 h 33"/>
                      <a:gd name="T4" fmla="*/ 0 w 110"/>
                      <a:gd name="T5" fmla="*/ 17 h 33"/>
                      <a:gd name="T6" fmla="*/ 17 w 110"/>
                      <a:gd name="T7" fmla="*/ 0 h 33"/>
                      <a:gd name="T8" fmla="*/ 93 w 110"/>
                      <a:gd name="T9" fmla="*/ 0 h 33"/>
                      <a:gd name="T10" fmla="*/ 110 w 110"/>
                      <a:gd name="T11" fmla="*/ 17 h 33"/>
                      <a:gd name="T12" fmla="*/ 93 w 110"/>
                      <a:gd name="T13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0" h="33">
                        <a:moveTo>
                          <a:pt x="93" y="33"/>
                        </a:moveTo>
                        <a:cubicBezTo>
                          <a:pt x="17" y="33"/>
                          <a:pt x="17" y="33"/>
                          <a:pt x="17" y="33"/>
                        </a:cubicBezTo>
                        <a:cubicBezTo>
                          <a:pt x="7" y="33"/>
                          <a:pt x="0" y="26"/>
                          <a:pt x="0" y="17"/>
                        </a:cubicBezTo>
                        <a:cubicBezTo>
                          <a:pt x="0" y="7"/>
                          <a:pt x="7" y="0"/>
                          <a:pt x="17" y="0"/>
                        </a:cubicBezTo>
                        <a:cubicBezTo>
                          <a:pt x="93" y="0"/>
                          <a:pt x="93" y="0"/>
                          <a:pt x="93" y="0"/>
                        </a:cubicBezTo>
                        <a:cubicBezTo>
                          <a:pt x="103" y="0"/>
                          <a:pt x="110" y="7"/>
                          <a:pt x="110" y="17"/>
                        </a:cubicBezTo>
                        <a:cubicBezTo>
                          <a:pt x="110" y="26"/>
                          <a:pt x="103" y="33"/>
                          <a:pt x="93" y="33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3" name="Freeform 161"/>
                  <p:cNvSpPr>
                    <a:spLocks/>
                  </p:cNvSpPr>
                  <p:nvPr/>
                </p:nvSpPr>
                <p:spPr bwMode="auto">
                  <a:xfrm>
                    <a:off x="2632078" y="4995861"/>
                    <a:ext cx="4033840" cy="314329"/>
                  </a:xfrm>
                  <a:custGeom>
                    <a:avLst/>
                    <a:gdLst>
                      <a:gd name="T0" fmla="*/ 406 w 423"/>
                      <a:gd name="T1" fmla="*/ 33 h 33"/>
                      <a:gd name="T2" fmla="*/ 16 w 423"/>
                      <a:gd name="T3" fmla="*/ 33 h 33"/>
                      <a:gd name="T4" fmla="*/ 0 w 423"/>
                      <a:gd name="T5" fmla="*/ 17 h 33"/>
                      <a:gd name="T6" fmla="*/ 16 w 423"/>
                      <a:gd name="T7" fmla="*/ 0 h 33"/>
                      <a:gd name="T8" fmla="*/ 406 w 423"/>
                      <a:gd name="T9" fmla="*/ 0 h 33"/>
                      <a:gd name="T10" fmla="*/ 423 w 423"/>
                      <a:gd name="T11" fmla="*/ 17 h 33"/>
                      <a:gd name="T12" fmla="*/ 406 w 423"/>
                      <a:gd name="T13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3" h="33">
                        <a:moveTo>
                          <a:pt x="406" y="33"/>
                        </a:moveTo>
                        <a:cubicBezTo>
                          <a:pt x="16" y="33"/>
                          <a:pt x="16" y="33"/>
                          <a:pt x="16" y="33"/>
                        </a:cubicBezTo>
                        <a:cubicBezTo>
                          <a:pt x="7" y="33"/>
                          <a:pt x="0" y="26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406" y="0"/>
                          <a:pt x="406" y="0"/>
                          <a:pt x="406" y="0"/>
                        </a:cubicBezTo>
                        <a:cubicBezTo>
                          <a:pt x="415" y="0"/>
                          <a:pt x="423" y="7"/>
                          <a:pt x="423" y="17"/>
                        </a:cubicBezTo>
                        <a:cubicBezTo>
                          <a:pt x="423" y="26"/>
                          <a:pt x="415" y="33"/>
                          <a:pt x="406" y="33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4" name="Freeform 162"/>
                  <p:cNvSpPr>
                    <a:spLocks/>
                  </p:cNvSpPr>
                  <p:nvPr/>
                </p:nvSpPr>
                <p:spPr bwMode="auto">
                  <a:xfrm>
                    <a:off x="6923088" y="3514723"/>
                    <a:ext cx="315910" cy="1241428"/>
                  </a:xfrm>
                  <a:custGeom>
                    <a:avLst/>
                    <a:gdLst>
                      <a:gd name="T0" fmla="*/ 16 w 33"/>
                      <a:gd name="T1" fmla="*/ 130 h 130"/>
                      <a:gd name="T2" fmla="*/ 0 w 33"/>
                      <a:gd name="T3" fmla="*/ 113 h 130"/>
                      <a:gd name="T4" fmla="*/ 0 w 33"/>
                      <a:gd name="T5" fmla="*/ 17 h 130"/>
                      <a:gd name="T6" fmla="*/ 16 w 33"/>
                      <a:gd name="T7" fmla="*/ 0 h 130"/>
                      <a:gd name="T8" fmla="*/ 33 w 33"/>
                      <a:gd name="T9" fmla="*/ 17 h 130"/>
                      <a:gd name="T10" fmla="*/ 33 w 33"/>
                      <a:gd name="T11" fmla="*/ 113 h 130"/>
                      <a:gd name="T12" fmla="*/ 16 w 33"/>
                      <a:gd name="T13" fmla="*/ 13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3" h="130">
                        <a:moveTo>
                          <a:pt x="16" y="130"/>
                        </a:moveTo>
                        <a:cubicBezTo>
                          <a:pt x="7" y="130"/>
                          <a:pt x="0" y="122"/>
                          <a:pt x="0" y="113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26" y="0"/>
                          <a:pt x="33" y="7"/>
                          <a:pt x="33" y="17"/>
                        </a:cubicBezTo>
                        <a:cubicBezTo>
                          <a:pt x="33" y="113"/>
                          <a:pt x="33" y="113"/>
                          <a:pt x="33" y="113"/>
                        </a:cubicBezTo>
                        <a:cubicBezTo>
                          <a:pt x="33" y="122"/>
                          <a:pt x="26" y="130"/>
                          <a:pt x="16" y="130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5" name="Freeform 157"/>
                  <p:cNvSpPr>
                    <a:spLocks noEditPoints="1"/>
                  </p:cNvSpPr>
                  <p:nvPr/>
                </p:nvSpPr>
                <p:spPr bwMode="auto">
                  <a:xfrm>
                    <a:off x="6342068" y="4432301"/>
                    <a:ext cx="1497010" cy="1498598"/>
                  </a:xfrm>
                  <a:custGeom>
                    <a:avLst/>
                    <a:gdLst>
                      <a:gd name="T0" fmla="*/ 78 w 157"/>
                      <a:gd name="T1" fmla="*/ 157 h 157"/>
                      <a:gd name="T2" fmla="*/ 0 w 157"/>
                      <a:gd name="T3" fmla="*/ 78 h 157"/>
                      <a:gd name="T4" fmla="*/ 78 w 157"/>
                      <a:gd name="T5" fmla="*/ 0 h 157"/>
                      <a:gd name="T6" fmla="*/ 157 w 157"/>
                      <a:gd name="T7" fmla="*/ 78 h 157"/>
                      <a:gd name="T8" fmla="*/ 78 w 157"/>
                      <a:gd name="T9" fmla="*/ 157 h 157"/>
                      <a:gd name="T10" fmla="*/ 78 w 157"/>
                      <a:gd name="T11" fmla="*/ 34 h 157"/>
                      <a:gd name="T12" fmla="*/ 34 w 157"/>
                      <a:gd name="T13" fmla="*/ 78 h 157"/>
                      <a:gd name="T14" fmla="*/ 78 w 157"/>
                      <a:gd name="T15" fmla="*/ 123 h 157"/>
                      <a:gd name="T16" fmla="*/ 123 w 157"/>
                      <a:gd name="T17" fmla="*/ 78 h 157"/>
                      <a:gd name="T18" fmla="*/ 78 w 157"/>
                      <a:gd name="T19" fmla="*/ 34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7" h="157">
                        <a:moveTo>
                          <a:pt x="78" y="157"/>
                        </a:moveTo>
                        <a:cubicBezTo>
                          <a:pt x="35" y="157"/>
                          <a:pt x="0" y="122"/>
                          <a:pt x="0" y="78"/>
                        </a:cubicBezTo>
                        <a:cubicBezTo>
                          <a:pt x="0" y="35"/>
                          <a:pt x="35" y="0"/>
                          <a:pt x="78" y="0"/>
                        </a:cubicBezTo>
                        <a:cubicBezTo>
                          <a:pt x="121" y="0"/>
                          <a:pt x="157" y="35"/>
                          <a:pt x="157" y="78"/>
                        </a:cubicBezTo>
                        <a:cubicBezTo>
                          <a:pt x="157" y="122"/>
                          <a:pt x="121" y="157"/>
                          <a:pt x="78" y="157"/>
                        </a:cubicBezTo>
                        <a:close/>
                        <a:moveTo>
                          <a:pt x="78" y="34"/>
                        </a:moveTo>
                        <a:cubicBezTo>
                          <a:pt x="54" y="34"/>
                          <a:pt x="34" y="54"/>
                          <a:pt x="34" y="78"/>
                        </a:cubicBezTo>
                        <a:cubicBezTo>
                          <a:pt x="34" y="103"/>
                          <a:pt x="54" y="123"/>
                          <a:pt x="78" y="123"/>
                        </a:cubicBezTo>
                        <a:cubicBezTo>
                          <a:pt x="103" y="123"/>
                          <a:pt x="123" y="103"/>
                          <a:pt x="123" y="78"/>
                        </a:cubicBezTo>
                        <a:cubicBezTo>
                          <a:pt x="123" y="54"/>
                          <a:pt x="103" y="34"/>
                          <a:pt x="78" y="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accent1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106" name="Freeform 156"/>
                  <p:cNvSpPr>
                    <a:spLocks noEditPoints="1"/>
                  </p:cNvSpPr>
                  <p:nvPr/>
                </p:nvSpPr>
                <p:spPr bwMode="auto">
                  <a:xfrm>
                    <a:off x="1460498" y="4432301"/>
                    <a:ext cx="1487490" cy="1498598"/>
                  </a:xfrm>
                  <a:custGeom>
                    <a:avLst/>
                    <a:gdLst>
                      <a:gd name="T0" fmla="*/ 78 w 156"/>
                      <a:gd name="T1" fmla="*/ 157 h 157"/>
                      <a:gd name="T2" fmla="*/ 0 w 156"/>
                      <a:gd name="T3" fmla="*/ 78 h 157"/>
                      <a:gd name="T4" fmla="*/ 78 w 156"/>
                      <a:gd name="T5" fmla="*/ 0 h 157"/>
                      <a:gd name="T6" fmla="*/ 156 w 156"/>
                      <a:gd name="T7" fmla="*/ 78 h 157"/>
                      <a:gd name="T8" fmla="*/ 78 w 156"/>
                      <a:gd name="T9" fmla="*/ 157 h 157"/>
                      <a:gd name="T10" fmla="*/ 78 w 156"/>
                      <a:gd name="T11" fmla="*/ 34 h 157"/>
                      <a:gd name="T12" fmla="*/ 33 w 156"/>
                      <a:gd name="T13" fmla="*/ 78 h 157"/>
                      <a:gd name="T14" fmla="*/ 78 w 156"/>
                      <a:gd name="T15" fmla="*/ 123 h 157"/>
                      <a:gd name="T16" fmla="*/ 123 w 156"/>
                      <a:gd name="T17" fmla="*/ 78 h 157"/>
                      <a:gd name="T18" fmla="*/ 78 w 156"/>
                      <a:gd name="T19" fmla="*/ 34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6" h="157">
                        <a:moveTo>
                          <a:pt x="78" y="157"/>
                        </a:moveTo>
                        <a:cubicBezTo>
                          <a:pt x="35" y="157"/>
                          <a:pt x="0" y="122"/>
                          <a:pt x="0" y="78"/>
                        </a:cubicBezTo>
                        <a:cubicBezTo>
                          <a:pt x="0" y="35"/>
                          <a:pt x="35" y="0"/>
                          <a:pt x="78" y="0"/>
                        </a:cubicBezTo>
                        <a:cubicBezTo>
                          <a:pt x="121" y="0"/>
                          <a:pt x="156" y="35"/>
                          <a:pt x="156" y="78"/>
                        </a:cubicBezTo>
                        <a:cubicBezTo>
                          <a:pt x="156" y="122"/>
                          <a:pt x="121" y="157"/>
                          <a:pt x="78" y="157"/>
                        </a:cubicBezTo>
                        <a:close/>
                        <a:moveTo>
                          <a:pt x="78" y="34"/>
                        </a:moveTo>
                        <a:cubicBezTo>
                          <a:pt x="53" y="34"/>
                          <a:pt x="33" y="54"/>
                          <a:pt x="33" y="78"/>
                        </a:cubicBezTo>
                        <a:cubicBezTo>
                          <a:pt x="33" y="103"/>
                          <a:pt x="53" y="123"/>
                          <a:pt x="78" y="123"/>
                        </a:cubicBezTo>
                        <a:cubicBezTo>
                          <a:pt x="103" y="123"/>
                          <a:pt x="123" y="103"/>
                          <a:pt x="123" y="78"/>
                        </a:cubicBezTo>
                        <a:cubicBezTo>
                          <a:pt x="123" y="54"/>
                          <a:pt x="103" y="34"/>
                          <a:pt x="78" y="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accent1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81" name="Group 51"/>
                <p:cNvGrpSpPr/>
                <p:nvPr/>
              </p:nvGrpSpPr>
              <p:grpSpPr>
                <a:xfrm>
                  <a:off x="1383669" y="3396497"/>
                  <a:ext cx="621560" cy="371306"/>
                  <a:chOff x="5645150" y="2416175"/>
                  <a:chExt cx="979488" cy="563563"/>
                </a:xfrm>
              </p:grpSpPr>
              <p:sp>
                <p:nvSpPr>
                  <p:cNvPr id="95" name="AutoShape 4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5645150" y="2416175"/>
                    <a:ext cx="968375" cy="5635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96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5737225" y="2760663"/>
                    <a:ext cx="225425" cy="219075"/>
                  </a:xfrm>
                  <a:custGeom>
                    <a:avLst/>
                    <a:gdLst/>
                    <a:ahLst/>
                    <a:cxnLst>
                      <a:cxn ang="0">
                        <a:pos x="13" y="195"/>
                      </a:cxn>
                      <a:cxn ang="0">
                        <a:pos x="1" y="185"/>
                      </a:cxn>
                      <a:cxn ang="0">
                        <a:pos x="10" y="170"/>
                      </a:cxn>
                      <a:cxn ang="0">
                        <a:pos x="185" y="126"/>
                      </a:cxn>
                      <a:cxn ang="0">
                        <a:pos x="200" y="135"/>
                      </a:cxn>
                      <a:cxn ang="0">
                        <a:pos x="191" y="150"/>
                      </a:cxn>
                      <a:cxn ang="0">
                        <a:pos x="16" y="194"/>
                      </a:cxn>
                      <a:cxn ang="0">
                        <a:pos x="13" y="195"/>
                      </a:cxn>
                      <a:cxn ang="0">
                        <a:pos x="13" y="131"/>
                      </a:cxn>
                      <a:cxn ang="0">
                        <a:pos x="1" y="122"/>
                      </a:cxn>
                      <a:cxn ang="0">
                        <a:pos x="10" y="107"/>
                      </a:cxn>
                      <a:cxn ang="0">
                        <a:pos x="185" y="62"/>
                      </a:cxn>
                      <a:cxn ang="0">
                        <a:pos x="200" y="71"/>
                      </a:cxn>
                      <a:cxn ang="0">
                        <a:pos x="191" y="86"/>
                      </a:cxn>
                      <a:cxn ang="0">
                        <a:pos x="16" y="130"/>
                      </a:cxn>
                      <a:cxn ang="0">
                        <a:pos x="13" y="131"/>
                      </a:cxn>
                      <a:cxn ang="0">
                        <a:pos x="13" y="71"/>
                      </a:cxn>
                      <a:cxn ang="0">
                        <a:pos x="1" y="61"/>
                      </a:cxn>
                      <a:cxn ang="0">
                        <a:pos x="10" y="46"/>
                      </a:cxn>
                      <a:cxn ang="0">
                        <a:pos x="185" y="2"/>
                      </a:cxn>
                      <a:cxn ang="0">
                        <a:pos x="200" y="11"/>
                      </a:cxn>
                      <a:cxn ang="0">
                        <a:pos x="191" y="26"/>
                      </a:cxn>
                      <a:cxn ang="0">
                        <a:pos x="16" y="70"/>
                      </a:cxn>
                      <a:cxn ang="0">
                        <a:pos x="13" y="71"/>
                      </a:cxn>
                    </a:cxnLst>
                    <a:rect l="0" t="0" r="r" b="b"/>
                    <a:pathLst>
                      <a:path w="201" h="195">
                        <a:moveTo>
                          <a:pt x="13" y="195"/>
                        </a:moveTo>
                        <a:cubicBezTo>
                          <a:pt x="8" y="195"/>
                          <a:pt x="3" y="191"/>
                          <a:pt x="1" y="185"/>
                        </a:cubicBezTo>
                        <a:cubicBezTo>
                          <a:pt x="0" y="179"/>
                          <a:pt x="4" y="172"/>
                          <a:pt x="10" y="170"/>
                        </a:cubicBezTo>
                        <a:cubicBezTo>
                          <a:pt x="185" y="126"/>
                          <a:pt x="185" y="126"/>
                          <a:pt x="185" y="126"/>
                        </a:cubicBezTo>
                        <a:cubicBezTo>
                          <a:pt x="191" y="124"/>
                          <a:pt x="198" y="128"/>
                          <a:pt x="200" y="135"/>
                        </a:cubicBezTo>
                        <a:cubicBezTo>
                          <a:pt x="201" y="142"/>
                          <a:pt x="197" y="148"/>
                          <a:pt x="191" y="150"/>
                        </a:cubicBezTo>
                        <a:cubicBezTo>
                          <a:pt x="16" y="194"/>
                          <a:pt x="16" y="194"/>
                          <a:pt x="16" y="194"/>
                        </a:cubicBezTo>
                        <a:cubicBezTo>
                          <a:pt x="15" y="195"/>
                          <a:pt x="14" y="195"/>
                          <a:pt x="13" y="195"/>
                        </a:cubicBezTo>
                        <a:close/>
                        <a:moveTo>
                          <a:pt x="13" y="131"/>
                        </a:moveTo>
                        <a:cubicBezTo>
                          <a:pt x="8" y="131"/>
                          <a:pt x="3" y="127"/>
                          <a:pt x="1" y="122"/>
                        </a:cubicBezTo>
                        <a:cubicBezTo>
                          <a:pt x="0" y="115"/>
                          <a:pt x="4" y="108"/>
                          <a:pt x="10" y="107"/>
                        </a:cubicBezTo>
                        <a:cubicBezTo>
                          <a:pt x="185" y="62"/>
                          <a:pt x="185" y="62"/>
                          <a:pt x="185" y="62"/>
                        </a:cubicBezTo>
                        <a:cubicBezTo>
                          <a:pt x="191" y="61"/>
                          <a:pt x="198" y="65"/>
                          <a:pt x="200" y="71"/>
                        </a:cubicBezTo>
                        <a:cubicBezTo>
                          <a:pt x="201" y="78"/>
                          <a:pt x="197" y="84"/>
                          <a:pt x="191" y="86"/>
                        </a:cubicBezTo>
                        <a:cubicBezTo>
                          <a:pt x="16" y="130"/>
                          <a:pt x="16" y="130"/>
                          <a:pt x="16" y="130"/>
                        </a:cubicBezTo>
                        <a:cubicBezTo>
                          <a:pt x="15" y="131"/>
                          <a:pt x="14" y="131"/>
                          <a:pt x="13" y="131"/>
                        </a:cubicBezTo>
                        <a:close/>
                        <a:moveTo>
                          <a:pt x="13" y="71"/>
                        </a:moveTo>
                        <a:cubicBezTo>
                          <a:pt x="8" y="71"/>
                          <a:pt x="3" y="67"/>
                          <a:pt x="1" y="61"/>
                        </a:cubicBezTo>
                        <a:cubicBezTo>
                          <a:pt x="0" y="55"/>
                          <a:pt x="4" y="48"/>
                          <a:pt x="10" y="46"/>
                        </a:cubicBezTo>
                        <a:cubicBezTo>
                          <a:pt x="185" y="2"/>
                          <a:pt x="185" y="2"/>
                          <a:pt x="185" y="2"/>
                        </a:cubicBezTo>
                        <a:cubicBezTo>
                          <a:pt x="191" y="0"/>
                          <a:pt x="198" y="4"/>
                          <a:pt x="200" y="11"/>
                        </a:cubicBezTo>
                        <a:cubicBezTo>
                          <a:pt x="201" y="18"/>
                          <a:pt x="197" y="24"/>
                          <a:pt x="191" y="26"/>
                        </a:cubicBezTo>
                        <a:cubicBezTo>
                          <a:pt x="16" y="70"/>
                          <a:pt x="16" y="70"/>
                          <a:pt x="16" y="70"/>
                        </a:cubicBezTo>
                        <a:cubicBezTo>
                          <a:pt x="15" y="71"/>
                          <a:pt x="14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97" name="Freeform 7"/>
                  <p:cNvSpPr>
                    <a:spLocks/>
                  </p:cNvSpPr>
                  <p:nvPr/>
                </p:nvSpPr>
                <p:spPr bwMode="auto">
                  <a:xfrm>
                    <a:off x="5835650" y="2478088"/>
                    <a:ext cx="115888" cy="52388"/>
                  </a:xfrm>
                  <a:custGeom>
                    <a:avLst/>
                    <a:gdLst/>
                    <a:ahLst/>
                    <a:cxnLst>
                      <a:cxn ang="0">
                        <a:pos x="14" y="46"/>
                      </a:cxn>
                      <a:cxn ang="0">
                        <a:pos x="2" y="36"/>
                      </a:cxn>
                      <a:cxn ang="0">
                        <a:pos x="11" y="21"/>
                      </a:cxn>
                      <a:cxn ang="0">
                        <a:pos x="86" y="2"/>
                      </a:cxn>
                      <a:cxn ang="0">
                        <a:pos x="101" y="11"/>
                      </a:cxn>
                      <a:cxn ang="0">
                        <a:pos x="92" y="26"/>
                      </a:cxn>
                      <a:cxn ang="0">
                        <a:pos x="17" y="45"/>
                      </a:cxn>
                      <a:cxn ang="0">
                        <a:pos x="14" y="46"/>
                      </a:cxn>
                    </a:cxnLst>
                    <a:rect l="0" t="0" r="r" b="b"/>
                    <a:pathLst>
                      <a:path w="103" h="46">
                        <a:moveTo>
                          <a:pt x="14" y="46"/>
                        </a:moveTo>
                        <a:cubicBezTo>
                          <a:pt x="8" y="46"/>
                          <a:pt x="3" y="42"/>
                          <a:pt x="2" y="36"/>
                        </a:cubicBezTo>
                        <a:cubicBezTo>
                          <a:pt x="0" y="30"/>
                          <a:pt x="4" y="23"/>
                          <a:pt x="11" y="21"/>
                        </a:cubicBezTo>
                        <a:cubicBezTo>
                          <a:pt x="86" y="2"/>
                          <a:pt x="86" y="2"/>
                          <a:pt x="86" y="2"/>
                        </a:cubicBezTo>
                        <a:cubicBezTo>
                          <a:pt x="93" y="0"/>
                          <a:pt x="99" y="4"/>
                          <a:pt x="101" y="11"/>
                        </a:cubicBezTo>
                        <a:cubicBezTo>
                          <a:pt x="103" y="18"/>
                          <a:pt x="99" y="24"/>
                          <a:pt x="92" y="26"/>
                        </a:cubicBezTo>
                        <a:cubicBezTo>
                          <a:pt x="17" y="45"/>
                          <a:pt x="17" y="45"/>
                          <a:pt x="17" y="45"/>
                        </a:cubicBezTo>
                        <a:cubicBezTo>
                          <a:pt x="16" y="45"/>
                          <a:pt x="15" y="46"/>
                          <a:pt x="14" y="46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solidFill>
                      <a:schemeClr val="accent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98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5645150" y="2436813"/>
                    <a:ext cx="979488" cy="492125"/>
                  </a:xfrm>
                  <a:custGeom>
                    <a:avLst/>
                    <a:gdLst/>
                    <a:ahLst/>
                    <a:cxnLst>
                      <a:cxn ang="0">
                        <a:pos x="317" y="437"/>
                      </a:cxn>
                      <a:cxn ang="0">
                        <a:pos x="308" y="434"/>
                      </a:cxn>
                      <a:cxn ang="0">
                        <a:pos x="304" y="424"/>
                      </a:cxn>
                      <a:cxn ang="0">
                        <a:pos x="322" y="245"/>
                      </a:cxn>
                      <a:cxn ang="0">
                        <a:pos x="148" y="290"/>
                      </a:cxn>
                      <a:cxn ang="0">
                        <a:pos x="135" y="285"/>
                      </a:cxn>
                      <a:cxn ang="0">
                        <a:pos x="3" y="102"/>
                      </a:cxn>
                      <a:cxn ang="0">
                        <a:pos x="1" y="91"/>
                      </a:cxn>
                      <a:cxn ang="0">
                        <a:pos x="9" y="83"/>
                      </a:cxn>
                      <a:cxn ang="0">
                        <a:pos x="84" y="60"/>
                      </a:cxn>
                      <a:cxn ang="0">
                        <a:pos x="96" y="62"/>
                      </a:cxn>
                      <a:cxn ang="0">
                        <a:pos x="181" y="138"/>
                      </a:cxn>
                      <a:cxn ang="0">
                        <a:pos x="186" y="138"/>
                      </a:cxn>
                      <a:cxn ang="0">
                        <a:pos x="706" y="5"/>
                      </a:cxn>
                      <a:cxn ang="0">
                        <a:pos x="787" y="3"/>
                      </a:cxn>
                      <a:cxn ang="0">
                        <a:pos x="858" y="37"/>
                      </a:cxn>
                      <a:cxn ang="0">
                        <a:pos x="740" y="138"/>
                      </a:cxn>
                      <a:cxn ang="0">
                        <a:pos x="600" y="174"/>
                      </a:cxn>
                      <a:cxn ang="0">
                        <a:pos x="409" y="411"/>
                      </a:cxn>
                      <a:cxn ang="0">
                        <a:pos x="404" y="414"/>
                      </a:cxn>
                      <a:cxn ang="0">
                        <a:pos x="362" y="425"/>
                      </a:cxn>
                      <a:cxn ang="0">
                        <a:pos x="320" y="437"/>
                      </a:cxn>
                      <a:cxn ang="0">
                        <a:pos x="317" y="437"/>
                      </a:cxn>
                      <a:cxn ang="0">
                        <a:pos x="348" y="238"/>
                      </a:cxn>
                      <a:cxn ang="0">
                        <a:pos x="331" y="408"/>
                      </a:cxn>
                      <a:cxn ang="0">
                        <a:pos x="356" y="401"/>
                      </a:cxn>
                      <a:cxn ang="0">
                        <a:pos x="394" y="391"/>
                      </a:cxn>
                      <a:cxn ang="0">
                        <a:pos x="582" y="157"/>
                      </a:cxn>
                      <a:cxn ang="0">
                        <a:pos x="589" y="151"/>
                      </a:cxn>
                      <a:cxn ang="0">
                        <a:pos x="734" y="114"/>
                      </a:cxn>
                      <a:cxn ang="0">
                        <a:pos x="834" y="43"/>
                      </a:cxn>
                      <a:cxn ang="0">
                        <a:pos x="785" y="27"/>
                      </a:cxn>
                      <a:cxn ang="0">
                        <a:pos x="712" y="29"/>
                      </a:cxn>
                      <a:cxn ang="0">
                        <a:pos x="191" y="162"/>
                      </a:cxn>
                      <a:cxn ang="0">
                        <a:pos x="188" y="162"/>
                      </a:cxn>
                      <a:cxn ang="0">
                        <a:pos x="176" y="162"/>
                      </a:cxn>
                      <a:cxn ang="0">
                        <a:pos x="168" y="159"/>
                      </a:cxn>
                      <a:cxn ang="0">
                        <a:pos x="85" y="85"/>
                      </a:cxn>
                      <a:cxn ang="0">
                        <a:pos x="33" y="102"/>
                      </a:cxn>
                      <a:cxn ang="0">
                        <a:pos x="150" y="264"/>
                      </a:cxn>
                      <a:cxn ang="0">
                        <a:pos x="333" y="216"/>
                      </a:cxn>
                      <a:cxn ang="0">
                        <a:pos x="333" y="216"/>
                      </a:cxn>
                      <a:cxn ang="0">
                        <a:pos x="483" y="178"/>
                      </a:cxn>
                      <a:cxn ang="0">
                        <a:pos x="498" y="187"/>
                      </a:cxn>
                      <a:cxn ang="0">
                        <a:pos x="489" y="202"/>
                      </a:cxn>
                      <a:cxn ang="0">
                        <a:pos x="348" y="238"/>
                      </a:cxn>
                    </a:cxnLst>
                    <a:rect l="0" t="0" r="r" b="b"/>
                    <a:pathLst>
                      <a:path w="869" h="437">
                        <a:moveTo>
                          <a:pt x="317" y="437"/>
                        </a:moveTo>
                        <a:cubicBezTo>
                          <a:pt x="314" y="437"/>
                          <a:pt x="311" y="436"/>
                          <a:pt x="308" y="434"/>
                        </a:cubicBezTo>
                        <a:cubicBezTo>
                          <a:pt x="305" y="432"/>
                          <a:pt x="304" y="428"/>
                          <a:pt x="304" y="424"/>
                        </a:cubicBezTo>
                        <a:cubicBezTo>
                          <a:pt x="322" y="245"/>
                          <a:pt x="322" y="245"/>
                          <a:pt x="322" y="245"/>
                        </a:cubicBezTo>
                        <a:cubicBezTo>
                          <a:pt x="148" y="290"/>
                          <a:pt x="148" y="290"/>
                          <a:pt x="148" y="290"/>
                        </a:cubicBezTo>
                        <a:cubicBezTo>
                          <a:pt x="143" y="291"/>
                          <a:pt x="138" y="290"/>
                          <a:pt x="135" y="285"/>
                        </a:cubicBezTo>
                        <a:cubicBezTo>
                          <a:pt x="3" y="102"/>
                          <a:pt x="3" y="102"/>
                          <a:pt x="3" y="102"/>
                        </a:cubicBezTo>
                        <a:cubicBezTo>
                          <a:pt x="0" y="99"/>
                          <a:pt x="0" y="95"/>
                          <a:pt x="1" y="91"/>
                        </a:cubicBezTo>
                        <a:cubicBezTo>
                          <a:pt x="2" y="87"/>
                          <a:pt x="5" y="85"/>
                          <a:pt x="9" y="83"/>
                        </a:cubicBezTo>
                        <a:cubicBezTo>
                          <a:pt x="84" y="60"/>
                          <a:pt x="84" y="60"/>
                          <a:pt x="84" y="60"/>
                        </a:cubicBezTo>
                        <a:cubicBezTo>
                          <a:pt x="88" y="58"/>
                          <a:pt x="93" y="59"/>
                          <a:pt x="96" y="62"/>
                        </a:cubicBezTo>
                        <a:cubicBezTo>
                          <a:pt x="181" y="138"/>
                          <a:pt x="181" y="138"/>
                          <a:pt x="181" y="138"/>
                        </a:cubicBezTo>
                        <a:cubicBezTo>
                          <a:pt x="186" y="138"/>
                          <a:pt x="186" y="138"/>
                          <a:pt x="186" y="138"/>
                        </a:cubicBezTo>
                        <a:cubicBezTo>
                          <a:pt x="706" y="5"/>
                          <a:pt x="706" y="5"/>
                          <a:pt x="706" y="5"/>
                        </a:cubicBezTo>
                        <a:cubicBezTo>
                          <a:pt x="724" y="1"/>
                          <a:pt x="758" y="0"/>
                          <a:pt x="787" y="3"/>
                        </a:cubicBezTo>
                        <a:cubicBezTo>
                          <a:pt x="830" y="7"/>
                          <a:pt x="853" y="19"/>
                          <a:pt x="858" y="37"/>
                        </a:cubicBezTo>
                        <a:cubicBezTo>
                          <a:pt x="869" y="80"/>
                          <a:pt x="769" y="131"/>
                          <a:pt x="740" y="138"/>
                        </a:cubicBezTo>
                        <a:cubicBezTo>
                          <a:pt x="600" y="174"/>
                          <a:pt x="600" y="174"/>
                          <a:pt x="600" y="174"/>
                        </a:cubicBezTo>
                        <a:cubicBezTo>
                          <a:pt x="549" y="257"/>
                          <a:pt x="491" y="330"/>
                          <a:pt x="409" y="411"/>
                        </a:cubicBezTo>
                        <a:cubicBezTo>
                          <a:pt x="408" y="412"/>
                          <a:pt x="406" y="413"/>
                          <a:pt x="404" y="414"/>
                        </a:cubicBezTo>
                        <a:cubicBezTo>
                          <a:pt x="385" y="419"/>
                          <a:pt x="374" y="422"/>
                          <a:pt x="362" y="425"/>
                        </a:cubicBezTo>
                        <a:cubicBezTo>
                          <a:pt x="350" y="429"/>
                          <a:pt x="339" y="432"/>
                          <a:pt x="320" y="437"/>
                        </a:cubicBezTo>
                        <a:cubicBezTo>
                          <a:pt x="319" y="437"/>
                          <a:pt x="318" y="437"/>
                          <a:pt x="317" y="437"/>
                        </a:cubicBezTo>
                        <a:close/>
                        <a:moveTo>
                          <a:pt x="348" y="238"/>
                        </a:moveTo>
                        <a:cubicBezTo>
                          <a:pt x="331" y="408"/>
                          <a:pt x="331" y="408"/>
                          <a:pt x="331" y="408"/>
                        </a:cubicBezTo>
                        <a:cubicBezTo>
                          <a:pt x="340" y="406"/>
                          <a:pt x="348" y="404"/>
                          <a:pt x="356" y="401"/>
                        </a:cubicBezTo>
                        <a:cubicBezTo>
                          <a:pt x="366" y="399"/>
                          <a:pt x="377" y="396"/>
                          <a:pt x="394" y="391"/>
                        </a:cubicBezTo>
                        <a:cubicBezTo>
                          <a:pt x="474" y="311"/>
                          <a:pt x="532" y="239"/>
                          <a:pt x="582" y="157"/>
                        </a:cubicBezTo>
                        <a:cubicBezTo>
                          <a:pt x="583" y="154"/>
                          <a:pt x="586" y="152"/>
                          <a:pt x="589" y="151"/>
                        </a:cubicBezTo>
                        <a:cubicBezTo>
                          <a:pt x="734" y="114"/>
                          <a:pt x="734" y="114"/>
                          <a:pt x="734" y="114"/>
                        </a:cubicBezTo>
                        <a:cubicBezTo>
                          <a:pt x="769" y="105"/>
                          <a:pt x="838" y="59"/>
                          <a:pt x="834" y="43"/>
                        </a:cubicBezTo>
                        <a:cubicBezTo>
                          <a:pt x="833" y="40"/>
                          <a:pt x="823" y="31"/>
                          <a:pt x="785" y="27"/>
                        </a:cubicBezTo>
                        <a:cubicBezTo>
                          <a:pt x="756" y="24"/>
                          <a:pt x="726" y="26"/>
                          <a:pt x="712" y="29"/>
                        </a:cubicBezTo>
                        <a:cubicBezTo>
                          <a:pt x="191" y="162"/>
                          <a:pt x="191" y="162"/>
                          <a:pt x="191" y="162"/>
                        </a:cubicBezTo>
                        <a:cubicBezTo>
                          <a:pt x="190" y="162"/>
                          <a:pt x="189" y="162"/>
                          <a:pt x="188" y="162"/>
                        </a:cubicBezTo>
                        <a:cubicBezTo>
                          <a:pt x="176" y="162"/>
                          <a:pt x="176" y="162"/>
                          <a:pt x="176" y="162"/>
                        </a:cubicBezTo>
                        <a:cubicBezTo>
                          <a:pt x="173" y="162"/>
                          <a:pt x="170" y="161"/>
                          <a:pt x="168" y="159"/>
                        </a:cubicBezTo>
                        <a:cubicBezTo>
                          <a:pt x="85" y="85"/>
                          <a:pt x="85" y="85"/>
                          <a:pt x="85" y="85"/>
                        </a:cubicBezTo>
                        <a:cubicBezTo>
                          <a:pt x="33" y="102"/>
                          <a:pt x="33" y="102"/>
                          <a:pt x="33" y="102"/>
                        </a:cubicBezTo>
                        <a:cubicBezTo>
                          <a:pt x="150" y="264"/>
                          <a:pt x="150" y="264"/>
                          <a:pt x="150" y="264"/>
                        </a:cubicBezTo>
                        <a:cubicBezTo>
                          <a:pt x="333" y="216"/>
                          <a:pt x="333" y="216"/>
                          <a:pt x="333" y="216"/>
                        </a:cubicBezTo>
                        <a:cubicBezTo>
                          <a:pt x="333" y="216"/>
                          <a:pt x="333" y="216"/>
                          <a:pt x="333" y="216"/>
                        </a:cubicBezTo>
                        <a:cubicBezTo>
                          <a:pt x="483" y="178"/>
                          <a:pt x="483" y="178"/>
                          <a:pt x="483" y="178"/>
                        </a:cubicBezTo>
                        <a:cubicBezTo>
                          <a:pt x="489" y="176"/>
                          <a:pt x="496" y="180"/>
                          <a:pt x="498" y="187"/>
                        </a:cubicBezTo>
                        <a:cubicBezTo>
                          <a:pt x="500" y="194"/>
                          <a:pt x="496" y="200"/>
                          <a:pt x="489" y="202"/>
                        </a:cubicBezTo>
                        <a:lnTo>
                          <a:pt x="348" y="238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99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5957888" y="2416175"/>
                    <a:ext cx="350838" cy="161925"/>
                  </a:xfrm>
                  <a:custGeom>
                    <a:avLst/>
                    <a:gdLst/>
                    <a:ahLst/>
                    <a:cxnLst>
                      <a:cxn ang="0">
                        <a:pos x="59" y="143"/>
                      </a:cxn>
                      <a:cxn ang="0">
                        <a:pos x="48" y="136"/>
                      </a:cxn>
                      <a:cxn ang="0">
                        <a:pos x="38" y="115"/>
                      </a:cxn>
                      <a:cxn ang="0">
                        <a:pos x="1" y="44"/>
                      </a:cxn>
                      <a:cxn ang="0">
                        <a:pos x="1" y="33"/>
                      </a:cxn>
                      <a:cxn ang="0">
                        <a:pos x="9" y="26"/>
                      </a:cxn>
                      <a:cxn ang="0">
                        <a:pos x="105" y="1"/>
                      </a:cxn>
                      <a:cxn ang="0">
                        <a:pos x="111" y="1"/>
                      </a:cxn>
                      <a:cxn ang="0">
                        <a:pos x="303" y="57"/>
                      </a:cxn>
                      <a:cxn ang="0">
                        <a:pos x="312" y="69"/>
                      </a:cxn>
                      <a:cxn ang="0">
                        <a:pos x="303" y="81"/>
                      </a:cxn>
                      <a:cxn ang="0">
                        <a:pos x="62" y="142"/>
                      </a:cxn>
                      <a:cxn ang="0">
                        <a:pos x="59" y="143"/>
                      </a:cxn>
                      <a:cxn ang="0">
                        <a:pos x="30" y="46"/>
                      </a:cxn>
                      <a:cxn ang="0">
                        <a:pos x="66" y="116"/>
                      </a:cxn>
                      <a:cxn ang="0">
                        <a:pos x="253" y="68"/>
                      </a:cxn>
                      <a:cxn ang="0">
                        <a:pos x="108" y="25"/>
                      </a:cxn>
                      <a:cxn ang="0">
                        <a:pos x="30" y="46"/>
                      </a:cxn>
                    </a:cxnLst>
                    <a:rect l="0" t="0" r="r" b="b"/>
                    <a:pathLst>
                      <a:path w="312" h="143">
                        <a:moveTo>
                          <a:pt x="59" y="143"/>
                        </a:moveTo>
                        <a:cubicBezTo>
                          <a:pt x="55" y="143"/>
                          <a:pt x="50" y="140"/>
                          <a:pt x="48" y="136"/>
                        </a:cubicBezTo>
                        <a:cubicBezTo>
                          <a:pt x="38" y="115"/>
                          <a:pt x="38" y="115"/>
                          <a:pt x="38" y="115"/>
                        </a:cubicBezTo>
                        <a:cubicBezTo>
                          <a:pt x="1" y="44"/>
                          <a:pt x="1" y="44"/>
                          <a:pt x="1" y="44"/>
                        </a:cubicBezTo>
                        <a:cubicBezTo>
                          <a:pt x="0" y="41"/>
                          <a:pt x="0" y="37"/>
                          <a:pt x="1" y="33"/>
                        </a:cubicBezTo>
                        <a:cubicBezTo>
                          <a:pt x="3" y="30"/>
                          <a:pt x="6" y="27"/>
                          <a:pt x="9" y="26"/>
                        </a:cubicBezTo>
                        <a:cubicBezTo>
                          <a:pt x="105" y="1"/>
                          <a:pt x="105" y="1"/>
                          <a:pt x="105" y="1"/>
                        </a:cubicBezTo>
                        <a:cubicBezTo>
                          <a:pt x="107" y="0"/>
                          <a:pt x="109" y="0"/>
                          <a:pt x="111" y="1"/>
                        </a:cubicBezTo>
                        <a:cubicBezTo>
                          <a:pt x="303" y="57"/>
                          <a:pt x="303" y="57"/>
                          <a:pt x="303" y="57"/>
                        </a:cubicBezTo>
                        <a:cubicBezTo>
                          <a:pt x="309" y="59"/>
                          <a:pt x="312" y="64"/>
                          <a:pt x="312" y="69"/>
                        </a:cubicBezTo>
                        <a:cubicBezTo>
                          <a:pt x="312" y="75"/>
                          <a:pt x="308" y="80"/>
                          <a:pt x="303" y="81"/>
                        </a:cubicBezTo>
                        <a:cubicBezTo>
                          <a:pt x="62" y="142"/>
                          <a:pt x="62" y="142"/>
                          <a:pt x="62" y="142"/>
                        </a:cubicBezTo>
                        <a:cubicBezTo>
                          <a:pt x="61" y="142"/>
                          <a:pt x="60" y="143"/>
                          <a:pt x="59" y="143"/>
                        </a:cubicBezTo>
                        <a:close/>
                        <a:moveTo>
                          <a:pt x="30" y="46"/>
                        </a:moveTo>
                        <a:cubicBezTo>
                          <a:pt x="66" y="116"/>
                          <a:pt x="66" y="116"/>
                          <a:pt x="66" y="116"/>
                        </a:cubicBezTo>
                        <a:cubicBezTo>
                          <a:pt x="253" y="68"/>
                          <a:pt x="253" y="68"/>
                          <a:pt x="253" y="68"/>
                        </a:cubicBezTo>
                        <a:cubicBezTo>
                          <a:pt x="108" y="25"/>
                          <a:pt x="108" y="25"/>
                          <a:pt x="108" y="25"/>
                        </a:cubicBezTo>
                        <a:lnTo>
                          <a:pt x="30" y="46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82" name="Group 66"/>
                <p:cNvGrpSpPr/>
                <p:nvPr/>
              </p:nvGrpSpPr>
              <p:grpSpPr>
                <a:xfrm>
                  <a:off x="2751438" y="3362083"/>
                  <a:ext cx="309994" cy="477990"/>
                  <a:chOff x="4843516" y="3491851"/>
                  <a:chExt cx="488505" cy="725488"/>
                </a:xfrm>
              </p:grpSpPr>
              <p:cxnSp>
                <p:nvCxnSpPr>
                  <p:cNvPr id="83" name="Straight Connector 82"/>
                  <p:cNvCxnSpPr/>
                  <p:nvPr/>
                </p:nvCxnSpPr>
                <p:spPr>
                  <a:xfrm flipV="1">
                    <a:off x="5004654" y="3933825"/>
                    <a:ext cx="100746" cy="130256"/>
                  </a:xfrm>
                  <a:prstGeom prst="line">
                    <a:avLst/>
                  </a:prstGeom>
                  <a:ln w="38100" cmpd="sng">
                    <a:solidFill>
                      <a:schemeClr val="accent3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84" name="Group 26"/>
                  <p:cNvGrpSpPr>
                    <a:grpSpLocks noChangeAspect="1"/>
                  </p:cNvGrpSpPr>
                  <p:nvPr/>
                </p:nvGrpSpPr>
                <p:grpSpPr>
                  <a:xfrm>
                    <a:off x="4843516" y="3491851"/>
                    <a:ext cx="452438" cy="725488"/>
                    <a:chOff x="1187450" y="2781300"/>
                    <a:chExt cx="452438" cy="725488"/>
                  </a:xfrm>
                </p:grpSpPr>
                <p:sp>
                  <p:nvSpPr>
                    <p:cNvPr id="87" name="AutoShape 6"/>
                    <p:cNvSpPr>
                      <a:spLocks noChangeAspect="1" noChangeArrowheads="1" noTextEdit="1"/>
                    </p:cNvSpPr>
                    <p:nvPr/>
                  </p:nvSpPr>
                  <p:spPr bwMode="auto">
                    <a:xfrm>
                      <a:off x="1187450" y="2781300"/>
                      <a:ext cx="452438" cy="72548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88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87450" y="2781300"/>
                      <a:ext cx="452438" cy="725488"/>
                    </a:xfrm>
                    <a:custGeom>
                      <a:avLst/>
                      <a:gdLst>
                        <a:gd name="T0" fmla="*/ 252 w 322"/>
                        <a:gd name="T1" fmla="*/ 518 h 518"/>
                        <a:gd name="T2" fmla="*/ 70 w 322"/>
                        <a:gd name="T3" fmla="*/ 518 h 518"/>
                        <a:gd name="T4" fmla="*/ 0 w 322"/>
                        <a:gd name="T5" fmla="*/ 448 h 518"/>
                        <a:gd name="T6" fmla="*/ 0 w 322"/>
                        <a:gd name="T7" fmla="*/ 70 h 518"/>
                        <a:gd name="T8" fmla="*/ 70 w 322"/>
                        <a:gd name="T9" fmla="*/ 0 h 518"/>
                        <a:gd name="T10" fmla="*/ 252 w 322"/>
                        <a:gd name="T11" fmla="*/ 0 h 518"/>
                        <a:gd name="T12" fmla="*/ 322 w 322"/>
                        <a:gd name="T13" fmla="*/ 70 h 518"/>
                        <a:gd name="T14" fmla="*/ 322 w 322"/>
                        <a:gd name="T15" fmla="*/ 448 h 518"/>
                        <a:gd name="T16" fmla="*/ 252 w 322"/>
                        <a:gd name="T17" fmla="*/ 518 h 518"/>
                        <a:gd name="T18" fmla="*/ 70 w 322"/>
                        <a:gd name="T19" fmla="*/ 22 h 518"/>
                        <a:gd name="T20" fmla="*/ 22 w 322"/>
                        <a:gd name="T21" fmla="*/ 70 h 518"/>
                        <a:gd name="T22" fmla="*/ 22 w 322"/>
                        <a:gd name="T23" fmla="*/ 448 h 518"/>
                        <a:gd name="T24" fmla="*/ 70 w 322"/>
                        <a:gd name="T25" fmla="*/ 496 h 518"/>
                        <a:gd name="T26" fmla="*/ 252 w 322"/>
                        <a:gd name="T27" fmla="*/ 496 h 518"/>
                        <a:gd name="T28" fmla="*/ 300 w 322"/>
                        <a:gd name="T29" fmla="*/ 448 h 518"/>
                        <a:gd name="T30" fmla="*/ 300 w 322"/>
                        <a:gd name="T31" fmla="*/ 70 h 518"/>
                        <a:gd name="T32" fmla="*/ 252 w 322"/>
                        <a:gd name="T33" fmla="*/ 22 h 518"/>
                        <a:gd name="T34" fmla="*/ 70 w 322"/>
                        <a:gd name="T35" fmla="*/ 22 h 5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22" h="518">
                          <a:moveTo>
                            <a:pt x="252" y="518"/>
                          </a:moveTo>
                          <a:cubicBezTo>
                            <a:pt x="70" y="518"/>
                            <a:pt x="70" y="518"/>
                            <a:pt x="70" y="518"/>
                          </a:cubicBezTo>
                          <a:cubicBezTo>
                            <a:pt x="31" y="518"/>
                            <a:pt x="0" y="487"/>
                            <a:pt x="0" y="448"/>
                          </a:cubicBezTo>
                          <a:cubicBezTo>
                            <a:pt x="0" y="70"/>
                            <a:pt x="0" y="70"/>
                            <a:pt x="0" y="70"/>
                          </a:cubicBezTo>
                          <a:cubicBezTo>
                            <a:pt x="0" y="31"/>
                            <a:pt x="31" y="0"/>
                            <a:pt x="70" y="0"/>
                          </a:cubicBezTo>
                          <a:cubicBezTo>
                            <a:pt x="252" y="0"/>
                            <a:pt x="252" y="0"/>
                            <a:pt x="252" y="0"/>
                          </a:cubicBezTo>
                          <a:cubicBezTo>
                            <a:pt x="290" y="0"/>
                            <a:pt x="322" y="31"/>
                            <a:pt x="322" y="70"/>
                          </a:cubicBezTo>
                          <a:cubicBezTo>
                            <a:pt x="322" y="448"/>
                            <a:pt x="322" y="448"/>
                            <a:pt x="322" y="448"/>
                          </a:cubicBezTo>
                          <a:cubicBezTo>
                            <a:pt x="322" y="487"/>
                            <a:pt x="290" y="518"/>
                            <a:pt x="252" y="518"/>
                          </a:cubicBezTo>
                          <a:close/>
                          <a:moveTo>
                            <a:pt x="70" y="22"/>
                          </a:moveTo>
                          <a:cubicBezTo>
                            <a:pt x="43" y="22"/>
                            <a:pt x="22" y="43"/>
                            <a:pt x="22" y="70"/>
                          </a:cubicBezTo>
                          <a:cubicBezTo>
                            <a:pt x="22" y="448"/>
                            <a:pt x="22" y="448"/>
                            <a:pt x="22" y="448"/>
                          </a:cubicBezTo>
                          <a:cubicBezTo>
                            <a:pt x="22" y="475"/>
                            <a:pt x="43" y="496"/>
                            <a:pt x="70" y="496"/>
                          </a:cubicBezTo>
                          <a:cubicBezTo>
                            <a:pt x="252" y="496"/>
                            <a:pt x="252" y="496"/>
                            <a:pt x="252" y="496"/>
                          </a:cubicBezTo>
                          <a:cubicBezTo>
                            <a:pt x="278" y="496"/>
                            <a:pt x="300" y="475"/>
                            <a:pt x="300" y="448"/>
                          </a:cubicBezTo>
                          <a:cubicBezTo>
                            <a:pt x="300" y="70"/>
                            <a:pt x="300" y="70"/>
                            <a:pt x="300" y="70"/>
                          </a:cubicBezTo>
                          <a:cubicBezTo>
                            <a:pt x="300" y="43"/>
                            <a:pt x="278" y="22"/>
                            <a:pt x="252" y="22"/>
                          </a:cubicBezTo>
                          <a:lnTo>
                            <a:pt x="70" y="22"/>
                          </a:ln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89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339850" y="2854325"/>
                      <a:ext cx="147638" cy="30163"/>
                    </a:xfrm>
                    <a:custGeom>
                      <a:avLst/>
                      <a:gdLst>
                        <a:gd name="T0" fmla="*/ 95 w 106"/>
                        <a:gd name="T1" fmla="*/ 22 h 22"/>
                        <a:gd name="T2" fmla="*/ 10 w 106"/>
                        <a:gd name="T3" fmla="*/ 22 h 22"/>
                        <a:gd name="T4" fmla="*/ 0 w 106"/>
                        <a:gd name="T5" fmla="*/ 11 h 22"/>
                        <a:gd name="T6" fmla="*/ 10 w 106"/>
                        <a:gd name="T7" fmla="*/ 0 h 22"/>
                        <a:gd name="T8" fmla="*/ 95 w 106"/>
                        <a:gd name="T9" fmla="*/ 0 h 22"/>
                        <a:gd name="T10" fmla="*/ 106 w 106"/>
                        <a:gd name="T11" fmla="*/ 11 h 22"/>
                        <a:gd name="T12" fmla="*/ 95 w 10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6" h="22">
                          <a:moveTo>
                            <a:pt x="95" y="22"/>
                          </a:moveTo>
                          <a:cubicBezTo>
                            <a:pt x="10" y="22"/>
                            <a:pt x="10" y="22"/>
                            <a:pt x="10" y="22"/>
                          </a:cubicBezTo>
                          <a:cubicBezTo>
                            <a:pt x="4" y="22"/>
                            <a:pt x="0" y="17"/>
                            <a:pt x="0" y="11"/>
                          </a:cubicBezTo>
                          <a:cubicBezTo>
                            <a:pt x="0" y="5"/>
                            <a:pt x="4" y="0"/>
                            <a:pt x="10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101" y="0"/>
                            <a:pt x="106" y="5"/>
                            <a:pt x="106" y="11"/>
                          </a:cubicBezTo>
                          <a:cubicBezTo>
                            <a:pt x="106" y="17"/>
                            <a:pt x="101" y="22"/>
                            <a:pt x="9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90" name="Oval 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85875" y="2855913"/>
                      <a:ext cx="25400" cy="26988"/>
                    </a:xfrm>
                    <a:prstGeom prst="ellipse">
                      <a:avLst/>
                    </a:pr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91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241425" y="3394075"/>
                      <a:ext cx="106363" cy="31750"/>
                    </a:xfrm>
                    <a:custGeom>
                      <a:avLst/>
                      <a:gdLst>
                        <a:gd name="T0" fmla="*/ 65 w 76"/>
                        <a:gd name="T1" fmla="*/ 22 h 22"/>
                        <a:gd name="T2" fmla="*/ 11 w 76"/>
                        <a:gd name="T3" fmla="*/ 22 h 22"/>
                        <a:gd name="T4" fmla="*/ 0 w 76"/>
                        <a:gd name="T5" fmla="*/ 11 h 22"/>
                        <a:gd name="T6" fmla="*/ 11 w 76"/>
                        <a:gd name="T7" fmla="*/ 0 h 22"/>
                        <a:gd name="T8" fmla="*/ 65 w 76"/>
                        <a:gd name="T9" fmla="*/ 0 h 22"/>
                        <a:gd name="T10" fmla="*/ 76 w 76"/>
                        <a:gd name="T11" fmla="*/ 11 h 22"/>
                        <a:gd name="T12" fmla="*/ 65 w 7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6" h="22">
                          <a:moveTo>
                            <a:pt x="65" y="22"/>
                          </a:moveTo>
                          <a:cubicBezTo>
                            <a:pt x="11" y="22"/>
                            <a:pt x="11" y="22"/>
                            <a:pt x="11" y="22"/>
                          </a:cubicBezTo>
                          <a:cubicBezTo>
                            <a:pt x="5" y="22"/>
                            <a:pt x="0" y="17"/>
                            <a:pt x="0" y="11"/>
                          </a:cubicBezTo>
                          <a:cubicBezTo>
                            <a:pt x="0" y="5"/>
                            <a:pt x="5" y="0"/>
                            <a:pt x="11" y="0"/>
                          </a:cubicBezTo>
                          <a:cubicBezTo>
                            <a:pt x="65" y="0"/>
                            <a:pt x="65" y="0"/>
                            <a:pt x="65" y="0"/>
                          </a:cubicBezTo>
                          <a:cubicBezTo>
                            <a:pt x="71" y="0"/>
                            <a:pt x="76" y="5"/>
                            <a:pt x="76" y="11"/>
                          </a:cubicBezTo>
                          <a:cubicBezTo>
                            <a:pt x="76" y="17"/>
                            <a:pt x="71" y="22"/>
                            <a:pt x="6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92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1360488" y="3394075"/>
                      <a:ext cx="104775" cy="31750"/>
                    </a:xfrm>
                    <a:custGeom>
                      <a:avLst/>
                      <a:gdLst>
                        <a:gd name="T0" fmla="*/ 64 w 75"/>
                        <a:gd name="T1" fmla="*/ 22 h 22"/>
                        <a:gd name="T2" fmla="*/ 10 w 75"/>
                        <a:gd name="T3" fmla="*/ 22 h 22"/>
                        <a:gd name="T4" fmla="*/ 0 w 75"/>
                        <a:gd name="T5" fmla="*/ 11 h 22"/>
                        <a:gd name="T6" fmla="*/ 10 w 75"/>
                        <a:gd name="T7" fmla="*/ 0 h 22"/>
                        <a:gd name="T8" fmla="*/ 64 w 75"/>
                        <a:gd name="T9" fmla="*/ 0 h 22"/>
                        <a:gd name="T10" fmla="*/ 75 w 75"/>
                        <a:gd name="T11" fmla="*/ 11 h 22"/>
                        <a:gd name="T12" fmla="*/ 64 w 75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5" h="22">
                          <a:moveTo>
                            <a:pt x="64" y="22"/>
                          </a:moveTo>
                          <a:cubicBezTo>
                            <a:pt x="10" y="22"/>
                            <a:pt x="10" y="22"/>
                            <a:pt x="10" y="22"/>
                          </a:cubicBezTo>
                          <a:cubicBezTo>
                            <a:pt x="4" y="22"/>
                            <a:pt x="0" y="17"/>
                            <a:pt x="0" y="11"/>
                          </a:cubicBezTo>
                          <a:cubicBezTo>
                            <a:pt x="0" y="5"/>
                            <a:pt x="4" y="0"/>
                            <a:pt x="10" y="0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cubicBezTo>
                            <a:pt x="70" y="0"/>
                            <a:pt x="75" y="5"/>
                            <a:pt x="75" y="11"/>
                          </a:cubicBezTo>
                          <a:cubicBezTo>
                            <a:pt x="75" y="17"/>
                            <a:pt x="70" y="22"/>
                            <a:pt x="64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93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1477963" y="3394075"/>
                      <a:ext cx="106363" cy="31750"/>
                    </a:xfrm>
                    <a:custGeom>
                      <a:avLst/>
                      <a:gdLst>
                        <a:gd name="T0" fmla="*/ 65 w 76"/>
                        <a:gd name="T1" fmla="*/ 22 h 22"/>
                        <a:gd name="T2" fmla="*/ 11 w 76"/>
                        <a:gd name="T3" fmla="*/ 22 h 22"/>
                        <a:gd name="T4" fmla="*/ 0 w 76"/>
                        <a:gd name="T5" fmla="*/ 11 h 22"/>
                        <a:gd name="T6" fmla="*/ 11 w 76"/>
                        <a:gd name="T7" fmla="*/ 0 h 22"/>
                        <a:gd name="T8" fmla="*/ 65 w 76"/>
                        <a:gd name="T9" fmla="*/ 0 h 22"/>
                        <a:gd name="T10" fmla="*/ 76 w 76"/>
                        <a:gd name="T11" fmla="*/ 11 h 22"/>
                        <a:gd name="T12" fmla="*/ 65 w 7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6" h="22">
                          <a:moveTo>
                            <a:pt x="65" y="22"/>
                          </a:moveTo>
                          <a:cubicBezTo>
                            <a:pt x="11" y="22"/>
                            <a:pt x="11" y="22"/>
                            <a:pt x="11" y="22"/>
                          </a:cubicBezTo>
                          <a:cubicBezTo>
                            <a:pt x="5" y="22"/>
                            <a:pt x="0" y="17"/>
                            <a:pt x="0" y="11"/>
                          </a:cubicBezTo>
                          <a:cubicBezTo>
                            <a:pt x="0" y="5"/>
                            <a:pt x="5" y="0"/>
                            <a:pt x="11" y="0"/>
                          </a:cubicBezTo>
                          <a:cubicBezTo>
                            <a:pt x="65" y="0"/>
                            <a:pt x="65" y="0"/>
                            <a:pt x="65" y="0"/>
                          </a:cubicBezTo>
                          <a:cubicBezTo>
                            <a:pt x="71" y="0"/>
                            <a:pt x="76" y="5"/>
                            <a:pt x="76" y="11"/>
                          </a:cubicBezTo>
                          <a:cubicBezTo>
                            <a:pt x="76" y="17"/>
                            <a:pt x="71" y="22"/>
                            <a:pt x="6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94" name="Freeform 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43013" y="2921000"/>
                      <a:ext cx="341313" cy="442913"/>
                    </a:xfrm>
                    <a:custGeom>
                      <a:avLst/>
                      <a:gdLst>
                        <a:gd name="T0" fmla="*/ 233 w 244"/>
                        <a:gd name="T1" fmla="*/ 316 h 316"/>
                        <a:gd name="T2" fmla="*/ 11 w 244"/>
                        <a:gd name="T3" fmla="*/ 316 h 316"/>
                        <a:gd name="T4" fmla="*/ 0 w 244"/>
                        <a:gd name="T5" fmla="*/ 306 h 316"/>
                        <a:gd name="T6" fmla="*/ 0 w 244"/>
                        <a:gd name="T7" fmla="*/ 11 h 316"/>
                        <a:gd name="T8" fmla="*/ 11 w 244"/>
                        <a:gd name="T9" fmla="*/ 0 h 316"/>
                        <a:gd name="T10" fmla="*/ 233 w 244"/>
                        <a:gd name="T11" fmla="*/ 0 h 316"/>
                        <a:gd name="T12" fmla="*/ 244 w 244"/>
                        <a:gd name="T13" fmla="*/ 11 h 316"/>
                        <a:gd name="T14" fmla="*/ 244 w 244"/>
                        <a:gd name="T15" fmla="*/ 306 h 316"/>
                        <a:gd name="T16" fmla="*/ 233 w 244"/>
                        <a:gd name="T17" fmla="*/ 316 h 316"/>
                        <a:gd name="T18" fmla="*/ 21 w 244"/>
                        <a:gd name="T19" fmla="*/ 295 h 316"/>
                        <a:gd name="T20" fmla="*/ 222 w 244"/>
                        <a:gd name="T21" fmla="*/ 295 h 316"/>
                        <a:gd name="T22" fmla="*/ 222 w 244"/>
                        <a:gd name="T23" fmla="*/ 21 h 316"/>
                        <a:gd name="T24" fmla="*/ 21 w 244"/>
                        <a:gd name="T25" fmla="*/ 21 h 316"/>
                        <a:gd name="T26" fmla="*/ 21 w 244"/>
                        <a:gd name="T27" fmla="*/ 295 h 3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44" h="316">
                          <a:moveTo>
                            <a:pt x="233" y="316"/>
                          </a:moveTo>
                          <a:cubicBezTo>
                            <a:pt x="11" y="316"/>
                            <a:pt x="11" y="316"/>
                            <a:pt x="11" y="316"/>
                          </a:cubicBezTo>
                          <a:cubicBezTo>
                            <a:pt x="5" y="316"/>
                            <a:pt x="0" y="312"/>
                            <a:pt x="0" y="306"/>
                          </a:cubicBezTo>
                          <a:cubicBezTo>
                            <a:pt x="0" y="11"/>
                            <a:pt x="0" y="11"/>
                            <a:pt x="0" y="11"/>
                          </a:cubicBezTo>
                          <a:cubicBezTo>
                            <a:pt x="0" y="4"/>
                            <a:pt x="5" y="0"/>
                            <a:pt x="11" y="0"/>
                          </a:cubicBezTo>
                          <a:cubicBezTo>
                            <a:pt x="233" y="0"/>
                            <a:pt x="233" y="0"/>
                            <a:pt x="233" y="0"/>
                          </a:cubicBezTo>
                          <a:cubicBezTo>
                            <a:pt x="239" y="0"/>
                            <a:pt x="244" y="4"/>
                            <a:pt x="244" y="11"/>
                          </a:cubicBezTo>
                          <a:cubicBezTo>
                            <a:pt x="244" y="306"/>
                            <a:pt x="244" y="306"/>
                            <a:pt x="244" y="306"/>
                          </a:cubicBezTo>
                          <a:cubicBezTo>
                            <a:pt x="244" y="312"/>
                            <a:pt x="239" y="316"/>
                            <a:pt x="233" y="316"/>
                          </a:cubicBezTo>
                          <a:close/>
                          <a:moveTo>
                            <a:pt x="21" y="295"/>
                          </a:moveTo>
                          <a:cubicBezTo>
                            <a:pt x="222" y="295"/>
                            <a:pt x="222" y="295"/>
                            <a:pt x="222" y="295"/>
                          </a:cubicBezTo>
                          <a:cubicBezTo>
                            <a:pt x="222" y="21"/>
                            <a:pt x="222" y="21"/>
                            <a:pt x="222" y="21"/>
                          </a:cubicBezTo>
                          <a:cubicBezTo>
                            <a:pt x="21" y="21"/>
                            <a:pt x="21" y="21"/>
                            <a:pt x="21" y="21"/>
                          </a:cubicBezTo>
                          <a:lnTo>
                            <a:pt x="21" y="295"/>
                          </a:ln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</p:grpSp>
              <p:cxnSp>
                <p:nvCxnSpPr>
                  <p:cNvPr id="85" name="Straight Connector 84"/>
                  <p:cNvCxnSpPr/>
                  <p:nvPr/>
                </p:nvCxnSpPr>
                <p:spPr>
                  <a:xfrm>
                    <a:off x="5076701" y="3948545"/>
                    <a:ext cx="104342" cy="77435"/>
                  </a:xfrm>
                  <a:prstGeom prst="line">
                    <a:avLst/>
                  </a:prstGeom>
                  <a:ln w="57150" cmpd="sng">
                    <a:solidFill>
                      <a:schemeClr val="accent3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/>
                  <p:cNvCxnSpPr/>
                  <p:nvPr/>
                </p:nvCxnSpPr>
                <p:spPr>
                  <a:xfrm flipV="1">
                    <a:off x="5163787" y="3716977"/>
                    <a:ext cx="168234" cy="283029"/>
                  </a:xfrm>
                  <a:prstGeom prst="line">
                    <a:avLst/>
                  </a:prstGeom>
                  <a:ln w="38100" cmpd="sng">
                    <a:solidFill>
                      <a:schemeClr val="accent3"/>
                    </a:solidFill>
                    <a:headEnd type="none" w="med" len="med"/>
                    <a:tailEnd type="triangl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pic>
            <p:nvPicPr>
              <p:cNvPr id="69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03449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0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3049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1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2174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2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4624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73" name="Straight Connector 72"/>
              <p:cNvCxnSpPr/>
              <p:nvPr/>
            </p:nvCxnSpPr>
            <p:spPr>
              <a:xfrm>
                <a:off x="3457575" y="1876425"/>
                <a:ext cx="0" cy="15906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>
                <a:off x="2905125" y="1876425"/>
                <a:ext cx="0" cy="15906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2286000" y="1876425"/>
                <a:ext cx="0" cy="15906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1666875" y="1876425"/>
                <a:ext cx="0" cy="15906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>
                <a:off x="1028700" y="1876425"/>
                <a:ext cx="0" cy="15906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313"/>
            <p:cNvGrpSpPr/>
            <p:nvPr/>
          </p:nvGrpSpPr>
          <p:grpSpPr>
            <a:xfrm>
              <a:off x="4284955" y="1649086"/>
              <a:ext cx="2804204" cy="2570412"/>
              <a:chOff x="5123155" y="1460999"/>
              <a:chExt cx="2804204" cy="2570412"/>
            </a:xfrm>
          </p:grpSpPr>
          <p:cxnSp>
            <p:nvCxnSpPr>
              <p:cNvPr id="13" name="Straight Connector 12"/>
              <p:cNvCxnSpPr>
                <a:endCxn id="23" idx="10"/>
              </p:cNvCxnSpPr>
              <p:nvPr/>
            </p:nvCxnSpPr>
            <p:spPr>
              <a:xfrm flipH="1">
                <a:off x="6522238" y="1866900"/>
                <a:ext cx="2387" cy="427037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5934075" y="1876425"/>
                <a:ext cx="323850" cy="476250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5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70649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61199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2" descr="\\DML-NAS\DML_Data\1 Live Jobs\Nokia\19044 - Nokia brand Site\MASTER TEMPLATES\Network graphics\PNGs\Network Graphic Final PNGs\Laptop-100x100mm_RGB_2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9374" y="1460999"/>
                <a:ext cx="339225" cy="339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8" name="Straight Connector 17"/>
              <p:cNvCxnSpPr>
                <a:stCxn id="23" idx="5"/>
              </p:cNvCxnSpPr>
              <p:nvPr/>
            </p:nvCxnSpPr>
            <p:spPr>
              <a:xfrm>
                <a:off x="7003379" y="3059856"/>
                <a:ext cx="721396" cy="407244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>
                <a:off x="6810375" y="3076575"/>
                <a:ext cx="361950" cy="39052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 flipH="1">
                <a:off x="6562725" y="3067050"/>
                <a:ext cx="1" cy="52387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/>
            </p:nvCxnSpPr>
            <p:spPr>
              <a:xfrm flipH="1">
                <a:off x="5934075" y="3067050"/>
                <a:ext cx="361950" cy="400050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>
                <a:stCxn id="23" idx="3"/>
              </p:cNvCxnSpPr>
              <p:nvPr/>
            </p:nvCxnSpPr>
            <p:spPr>
              <a:xfrm flipH="1">
                <a:off x="5295900" y="3059856"/>
                <a:ext cx="745196" cy="407244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Freeform 17"/>
              <p:cNvSpPr>
                <a:spLocks noChangeAspect="1" noEditPoints="1"/>
              </p:cNvSpPr>
              <p:nvPr/>
            </p:nvSpPr>
            <p:spPr bwMode="auto">
              <a:xfrm>
                <a:off x="5691175" y="2293937"/>
                <a:ext cx="1662125" cy="765919"/>
              </a:xfrm>
              <a:custGeom>
                <a:avLst/>
                <a:gdLst>
                  <a:gd name="T0" fmla="*/ 26 w 76"/>
                  <a:gd name="T1" fmla="*/ 17 h 46"/>
                  <a:gd name="T2" fmla="*/ 16 w 76"/>
                  <a:gd name="T3" fmla="*/ 13 h 46"/>
                  <a:gd name="T4" fmla="*/ 0 w 76"/>
                  <a:gd name="T5" fmla="*/ 30 h 46"/>
                  <a:gd name="T6" fmla="*/ 16 w 76"/>
                  <a:gd name="T7" fmla="*/ 46 h 46"/>
                  <a:gd name="T8" fmla="*/ 59 w 76"/>
                  <a:gd name="T9" fmla="*/ 46 h 46"/>
                  <a:gd name="T10" fmla="*/ 60 w 76"/>
                  <a:gd name="T11" fmla="*/ 46 h 46"/>
                  <a:gd name="T12" fmla="*/ 76 w 76"/>
                  <a:gd name="T13" fmla="*/ 31 h 46"/>
                  <a:gd name="T14" fmla="*/ 63 w 76"/>
                  <a:gd name="T15" fmla="*/ 15 h 46"/>
                  <a:gd name="T16" fmla="*/ 59 w 76"/>
                  <a:gd name="T17" fmla="*/ 15 h 46"/>
                  <a:gd name="T18" fmla="*/ 60 w 76"/>
                  <a:gd name="T19" fmla="*/ 20 h 46"/>
                  <a:gd name="T20" fmla="*/ 38 w 76"/>
                  <a:gd name="T21" fmla="*/ 0 h 46"/>
                  <a:gd name="T22" fmla="*/ 16 w 76"/>
                  <a:gd name="T23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6" h="46">
                    <a:moveTo>
                      <a:pt x="26" y="17"/>
                    </a:moveTo>
                    <a:cubicBezTo>
                      <a:pt x="23" y="15"/>
                      <a:pt x="20" y="13"/>
                      <a:pt x="16" y="13"/>
                    </a:cubicBezTo>
                    <a:cubicBezTo>
                      <a:pt x="7" y="13"/>
                      <a:pt x="0" y="21"/>
                      <a:pt x="0" y="30"/>
                    </a:cubicBezTo>
                    <a:cubicBezTo>
                      <a:pt x="0" y="39"/>
                      <a:pt x="7" y="46"/>
                      <a:pt x="16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0" y="46"/>
                      <a:pt x="60" y="46"/>
                      <a:pt x="60" y="46"/>
                    </a:cubicBezTo>
                    <a:cubicBezTo>
                      <a:pt x="69" y="46"/>
                      <a:pt x="76" y="39"/>
                      <a:pt x="76" y="31"/>
                    </a:cubicBezTo>
                    <a:cubicBezTo>
                      <a:pt x="76" y="23"/>
                      <a:pt x="70" y="16"/>
                      <a:pt x="63" y="15"/>
                    </a:cubicBezTo>
                    <a:cubicBezTo>
                      <a:pt x="63" y="15"/>
                      <a:pt x="61" y="15"/>
                      <a:pt x="59" y="15"/>
                    </a:cubicBezTo>
                    <a:moveTo>
                      <a:pt x="60" y="20"/>
                    </a:moveTo>
                    <a:cubicBezTo>
                      <a:pt x="59" y="9"/>
                      <a:pt x="49" y="0"/>
                      <a:pt x="38" y="0"/>
                    </a:cubicBezTo>
                    <a:cubicBezTo>
                      <a:pt x="28" y="0"/>
                      <a:pt x="20" y="5"/>
                      <a:pt x="16" y="13"/>
                    </a:cubicBezTo>
                  </a:path>
                </a:pathLst>
              </a:custGeom>
              <a:noFill/>
              <a:ln w="317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 sz="1200" dirty="0" smtClean="0"/>
              </a:p>
              <a:p>
                <a:r>
                  <a:rPr lang="pl-PL" sz="1400" dirty="0" smtClean="0">
                    <a:latin typeface="Nokia Pure Headline Light" pitchFamily="34" charset="0"/>
                  </a:rPr>
                  <a:t>          	      Cloud</a:t>
                </a:r>
              </a:p>
              <a:p>
                <a:r>
                  <a:rPr lang="pl-PL" sz="1400" dirty="0" smtClean="0">
                    <a:latin typeface="Nokia Pure Headline Light" pitchFamily="34" charset="0"/>
                  </a:rPr>
                  <a:t>    	Big Data</a:t>
                </a:r>
                <a:endParaRPr lang="en-US" sz="1400" dirty="0">
                  <a:latin typeface="Nokia Pure Headline Light" pitchFamily="34" charset="0"/>
                </a:endParaRPr>
              </a:p>
            </p:txBody>
          </p:sp>
          <p:grpSp>
            <p:nvGrpSpPr>
              <p:cNvPr id="24" name="Group 246"/>
              <p:cNvGrpSpPr/>
              <p:nvPr/>
            </p:nvGrpSpPr>
            <p:grpSpPr>
              <a:xfrm>
                <a:off x="5123155" y="3524008"/>
                <a:ext cx="2804204" cy="507403"/>
                <a:chOff x="798805" y="3362083"/>
                <a:chExt cx="2804204" cy="507403"/>
              </a:xfrm>
            </p:grpSpPr>
            <p:grpSp>
              <p:nvGrpSpPr>
                <p:cNvPr id="26" name="Group 247"/>
                <p:cNvGrpSpPr>
                  <a:grpSpLocks noChangeAspect="1"/>
                </p:cNvGrpSpPr>
                <p:nvPr/>
              </p:nvGrpSpPr>
              <p:grpSpPr>
                <a:xfrm>
                  <a:off x="798805" y="3430991"/>
                  <a:ext cx="461385" cy="327376"/>
                  <a:chOff x="1835150" y="2894013"/>
                  <a:chExt cx="727075" cy="496887"/>
                </a:xfrm>
              </p:grpSpPr>
              <p:sp>
                <p:nvSpPr>
                  <p:cNvPr id="63" name="AutoShape 20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835150" y="2894013"/>
                    <a:ext cx="727075" cy="496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4" name="Freeform 22"/>
                  <p:cNvSpPr>
                    <a:spLocks noEditPoints="1"/>
                  </p:cNvSpPr>
                  <p:nvPr/>
                </p:nvSpPr>
                <p:spPr bwMode="auto">
                  <a:xfrm>
                    <a:off x="2479675" y="3124200"/>
                    <a:ext cx="36513" cy="36512"/>
                  </a:xfrm>
                  <a:custGeom>
                    <a:avLst/>
                    <a:gdLst>
                      <a:gd name="T0" fmla="*/ 16 w 32"/>
                      <a:gd name="T1" fmla="*/ 32 h 32"/>
                      <a:gd name="T2" fmla="*/ 0 w 32"/>
                      <a:gd name="T3" fmla="*/ 16 h 32"/>
                      <a:gd name="T4" fmla="*/ 16 w 32"/>
                      <a:gd name="T5" fmla="*/ 0 h 32"/>
                      <a:gd name="T6" fmla="*/ 32 w 32"/>
                      <a:gd name="T7" fmla="*/ 16 h 32"/>
                      <a:gd name="T8" fmla="*/ 16 w 32"/>
                      <a:gd name="T9" fmla="*/ 32 h 32"/>
                      <a:gd name="T10" fmla="*/ 16 w 32"/>
                      <a:gd name="T11" fmla="*/ 12 h 32"/>
                      <a:gd name="T12" fmla="*/ 12 w 32"/>
                      <a:gd name="T13" fmla="*/ 16 h 32"/>
                      <a:gd name="T14" fmla="*/ 16 w 32"/>
                      <a:gd name="T15" fmla="*/ 20 h 32"/>
                      <a:gd name="T16" fmla="*/ 20 w 32"/>
                      <a:gd name="T17" fmla="*/ 16 h 32"/>
                      <a:gd name="T18" fmla="*/ 16 w 32"/>
                      <a:gd name="T19" fmla="*/ 1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2" h="32">
                        <a:moveTo>
                          <a:pt x="16" y="32"/>
                        </a:moveTo>
                        <a:cubicBezTo>
                          <a:pt x="7" y="32"/>
                          <a:pt x="0" y="25"/>
                          <a:pt x="0" y="16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25" y="0"/>
                          <a:pt x="32" y="7"/>
                          <a:pt x="32" y="16"/>
                        </a:cubicBezTo>
                        <a:cubicBezTo>
                          <a:pt x="32" y="25"/>
                          <a:pt x="25" y="32"/>
                          <a:pt x="16" y="32"/>
                        </a:cubicBezTo>
                        <a:close/>
                        <a:moveTo>
                          <a:pt x="16" y="12"/>
                        </a:moveTo>
                        <a:cubicBezTo>
                          <a:pt x="13" y="12"/>
                          <a:pt x="12" y="14"/>
                          <a:pt x="12" y="16"/>
                        </a:cubicBezTo>
                        <a:cubicBezTo>
                          <a:pt x="12" y="18"/>
                          <a:pt x="13" y="20"/>
                          <a:pt x="16" y="20"/>
                        </a:cubicBezTo>
                        <a:cubicBezTo>
                          <a:pt x="18" y="20"/>
                          <a:pt x="20" y="18"/>
                          <a:pt x="20" y="16"/>
                        </a:cubicBezTo>
                        <a:cubicBezTo>
                          <a:pt x="20" y="14"/>
                          <a:pt x="18" y="12"/>
                          <a:pt x="16" y="12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5" name="Freeform 23"/>
                  <p:cNvSpPr>
                    <a:spLocks noEditPoints="1"/>
                  </p:cNvSpPr>
                  <p:nvPr/>
                </p:nvSpPr>
                <p:spPr bwMode="auto">
                  <a:xfrm>
                    <a:off x="1835150" y="2894013"/>
                    <a:ext cx="727075" cy="496887"/>
                  </a:xfrm>
                  <a:custGeom>
                    <a:avLst/>
                    <a:gdLst>
                      <a:gd name="T0" fmla="*/ 565 w 645"/>
                      <a:gd name="T1" fmla="*/ 440 h 440"/>
                      <a:gd name="T2" fmla="*/ 80 w 645"/>
                      <a:gd name="T3" fmla="*/ 440 h 440"/>
                      <a:gd name="T4" fmla="*/ 0 w 645"/>
                      <a:gd name="T5" fmla="*/ 359 h 440"/>
                      <a:gd name="T6" fmla="*/ 0 w 645"/>
                      <a:gd name="T7" fmla="*/ 80 h 440"/>
                      <a:gd name="T8" fmla="*/ 80 w 645"/>
                      <a:gd name="T9" fmla="*/ 0 h 440"/>
                      <a:gd name="T10" fmla="*/ 565 w 645"/>
                      <a:gd name="T11" fmla="*/ 0 h 440"/>
                      <a:gd name="T12" fmla="*/ 645 w 645"/>
                      <a:gd name="T13" fmla="*/ 80 h 440"/>
                      <a:gd name="T14" fmla="*/ 645 w 645"/>
                      <a:gd name="T15" fmla="*/ 359 h 440"/>
                      <a:gd name="T16" fmla="*/ 565 w 645"/>
                      <a:gd name="T17" fmla="*/ 440 h 440"/>
                      <a:gd name="T18" fmla="*/ 80 w 645"/>
                      <a:gd name="T19" fmla="*/ 24 h 440"/>
                      <a:gd name="T20" fmla="*/ 24 w 645"/>
                      <a:gd name="T21" fmla="*/ 80 h 440"/>
                      <a:gd name="T22" fmla="*/ 24 w 645"/>
                      <a:gd name="T23" fmla="*/ 359 h 440"/>
                      <a:gd name="T24" fmla="*/ 80 w 645"/>
                      <a:gd name="T25" fmla="*/ 416 h 440"/>
                      <a:gd name="T26" fmla="*/ 565 w 645"/>
                      <a:gd name="T27" fmla="*/ 416 h 440"/>
                      <a:gd name="T28" fmla="*/ 621 w 645"/>
                      <a:gd name="T29" fmla="*/ 359 h 440"/>
                      <a:gd name="T30" fmla="*/ 621 w 645"/>
                      <a:gd name="T31" fmla="*/ 80 h 440"/>
                      <a:gd name="T32" fmla="*/ 565 w 645"/>
                      <a:gd name="T33" fmla="*/ 24 h 440"/>
                      <a:gd name="T34" fmla="*/ 80 w 645"/>
                      <a:gd name="T35" fmla="*/ 24 h 4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645" h="440">
                        <a:moveTo>
                          <a:pt x="565" y="440"/>
                        </a:moveTo>
                        <a:cubicBezTo>
                          <a:pt x="80" y="440"/>
                          <a:pt x="80" y="440"/>
                          <a:pt x="80" y="440"/>
                        </a:cubicBezTo>
                        <a:cubicBezTo>
                          <a:pt x="36" y="440"/>
                          <a:pt x="0" y="404"/>
                          <a:pt x="0" y="359"/>
                        </a:cubicBezTo>
                        <a:cubicBezTo>
                          <a:pt x="0" y="80"/>
                          <a:pt x="0" y="80"/>
                          <a:pt x="0" y="80"/>
                        </a:cubicBezTo>
                        <a:cubicBezTo>
                          <a:pt x="0" y="36"/>
                          <a:pt x="36" y="0"/>
                          <a:pt x="80" y="0"/>
                        </a:cubicBezTo>
                        <a:cubicBezTo>
                          <a:pt x="565" y="0"/>
                          <a:pt x="565" y="0"/>
                          <a:pt x="565" y="0"/>
                        </a:cubicBezTo>
                        <a:cubicBezTo>
                          <a:pt x="609" y="0"/>
                          <a:pt x="645" y="36"/>
                          <a:pt x="645" y="80"/>
                        </a:cubicBezTo>
                        <a:cubicBezTo>
                          <a:pt x="645" y="359"/>
                          <a:pt x="645" y="359"/>
                          <a:pt x="645" y="359"/>
                        </a:cubicBezTo>
                        <a:cubicBezTo>
                          <a:pt x="645" y="404"/>
                          <a:pt x="609" y="440"/>
                          <a:pt x="565" y="440"/>
                        </a:cubicBezTo>
                        <a:close/>
                        <a:moveTo>
                          <a:pt x="80" y="24"/>
                        </a:moveTo>
                        <a:cubicBezTo>
                          <a:pt x="49" y="24"/>
                          <a:pt x="24" y="49"/>
                          <a:pt x="24" y="80"/>
                        </a:cubicBezTo>
                        <a:cubicBezTo>
                          <a:pt x="24" y="359"/>
                          <a:pt x="24" y="359"/>
                          <a:pt x="24" y="359"/>
                        </a:cubicBezTo>
                        <a:cubicBezTo>
                          <a:pt x="24" y="391"/>
                          <a:pt x="49" y="416"/>
                          <a:pt x="80" y="416"/>
                        </a:cubicBezTo>
                        <a:cubicBezTo>
                          <a:pt x="565" y="416"/>
                          <a:pt x="565" y="416"/>
                          <a:pt x="565" y="416"/>
                        </a:cubicBezTo>
                        <a:cubicBezTo>
                          <a:pt x="596" y="416"/>
                          <a:pt x="621" y="391"/>
                          <a:pt x="621" y="359"/>
                        </a:cubicBezTo>
                        <a:cubicBezTo>
                          <a:pt x="621" y="80"/>
                          <a:pt x="621" y="80"/>
                          <a:pt x="621" y="80"/>
                        </a:cubicBezTo>
                        <a:cubicBezTo>
                          <a:pt x="621" y="49"/>
                          <a:pt x="596" y="24"/>
                          <a:pt x="565" y="24"/>
                        </a:cubicBezTo>
                        <a:lnTo>
                          <a:pt x="80" y="24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6" name="Freeform 24"/>
                  <p:cNvSpPr>
                    <a:spLocks noEditPoints="1"/>
                  </p:cNvSpPr>
                  <p:nvPr/>
                </p:nvSpPr>
                <p:spPr bwMode="auto">
                  <a:xfrm>
                    <a:off x="1901825" y="2949575"/>
                    <a:ext cx="565150" cy="381000"/>
                  </a:xfrm>
                  <a:custGeom>
                    <a:avLst/>
                    <a:gdLst>
                      <a:gd name="T0" fmla="*/ 489 w 501"/>
                      <a:gd name="T1" fmla="*/ 338 h 338"/>
                      <a:gd name="T2" fmla="*/ 12 w 501"/>
                      <a:gd name="T3" fmla="*/ 338 h 338"/>
                      <a:gd name="T4" fmla="*/ 0 w 501"/>
                      <a:gd name="T5" fmla="*/ 326 h 338"/>
                      <a:gd name="T6" fmla="*/ 0 w 501"/>
                      <a:gd name="T7" fmla="*/ 12 h 338"/>
                      <a:gd name="T8" fmla="*/ 12 w 501"/>
                      <a:gd name="T9" fmla="*/ 0 h 338"/>
                      <a:gd name="T10" fmla="*/ 489 w 501"/>
                      <a:gd name="T11" fmla="*/ 0 h 338"/>
                      <a:gd name="T12" fmla="*/ 501 w 501"/>
                      <a:gd name="T13" fmla="*/ 12 h 338"/>
                      <a:gd name="T14" fmla="*/ 501 w 501"/>
                      <a:gd name="T15" fmla="*/ 326 h 338"/>
                      <a:gd name="T16" fmla="*/ 489 w 501"/>
                      <a:gd name="T17" fmla="*/ 338 h 338"/>
                      <a:gd name="T18" fmla="*/ 24 w 501"/>
                      <a:gd name="T19" fmla="*/ 314 h 338"/>
                      <a:gd name="T20" fmla="*/ 477 w 501"/>
                      <a:gd name="T21" fmla="*/ 314 h 338"/>
                      <a:gd name="T22" fmla="*/ 477 w 501"/>
                      <a:gd name="T23" fmla="*/ 24 h 338"/>
                      <a:gd name="T24" fmla="*/ 24 w 501"/>
                      <a:gd name="T25" fmla="*/ 24 h 338"/>
                      <a:gd name="T26" fmla="*/ 24 w 501"/>
                      <a:gd name="T27" fmla="*/ 314 h 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501" h="338">
                        <a:moveTo>
                          <a:pt x="489" y="338"/>
                        </a:moveTo>
                        <a:cubicBezTo>
                          <a:pt x="12" y="338"/>
                          <a:pt x="12" y="338"/>
                          <a:pt x="12" y="338"/>
                        </a:cubicBezTo>
                        <a:cubicBezTo>
                          <a:pt x="5" y="338"/>
                          <a:pt x="0" y="333"/>
                          <a:pt x="0" y="326"/>
                        </a:cubicBezTo>
                        <a:cubicBezTo>
                          <a:pt x="0" y="12"/>
                          <a:pt x="0" y="12"/>
                          <a:pt x="0" y="12"/>
                        </a:cubicBezTo>
                        <a:cubicBezTo>
                          <a:pt x="0" y="6"/>
                          <a:pt x="5" y="0"/>
                          <a:pt x="12" y="0"/>
                        </a:cubicBezTo>
                        <a:cubicBezTo>
                          <a:pt x="489" y="0"/>
                          <a:pt x="489" y="0"/>
                          <a:pt x="489" y="0"/>
                        </a:cubicBezTo>
                        <a:cubicBezTo>
                          <a:pt x="495" y="0"/>
                          <a:pt x="501" y="6"/>
                          <a:pt x="501" y="12"/>
                        </a:cubicBezTo>
                        <a:cubicBezTo>
                          <a:pt x="501" y="326"/>
                          <a:pt x="501" y="326"/>
                          <a:pt x="501" y="326"/>
                        </a:cubicBezTo>
                        <a:cubicBezTo>
                          <a:pt x="501" y="333"/>
                          <a:pt x="495" y="338"/>
                          <a:pt x="489" y="338"/>
                        </a:cubicBezTo>
                        <a:close/>
                        <a:moveTo>
                          <a:pt x="24" y="314"/>
                        </a:moveTo>
                        <a:cubicBezTo>
                          <a:pt x="477" y="314"/>
                          <a:pt x="477" y="314"/>
                          <a:pt x="477" y="314"/>
                        </a:cubicBezTo>
                        <a:cubicBezTo>
                          <a:pt x="477" y="24"/>
                          <a:pt x="477" y="24"/>
                          <a:pt x="477" y="24"/>
                        </a:cubicBezTo>
                        <a:cubicBezTo>
                          <a:pt x="24" y="24"/>
                          <a:pt x="24" y="24"/>
                          <a:pt x="24" y="24"/>
                        </a:cubicBezTo>
                        <a:lnTo>
                          <a:pt x="24" y="314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27" name="Group 56"/>
                <p:cNvGrpSpPr>
                  <a:grpSpLocks noChangeAspect="1"/>
                </p:cNvGrpSpPr>
                <p:nvPr/>
              </p:nvGrpSpPr>
              <p:grpSpPr bwMode="auto">
                <a:xfrm rot="18370721">
                  <a:off x="3225396" y="3491873"/>
                  <a:ext cx="428831" cy="326395"/>
                  <a:chOff x="2608" y="1885"/>
                  <a:chExt cx="410" cy="324"/>
                </a:xfrm>
              </p:grpSpPr>
              <p:sp>
                <p:nvSpPr>
                  <p:cNvPr id="55" name="AutoShape 55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2608" y="1885"/>
                    <a:ext cx="410" cy="32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6" name="Oval 57"/>
                  <p:cNvSpPr>
                    <a:spLocks noChangeArrowheads="1"/>
                  </p:cNvSpPr>
                  <p:nvPr/>
                </p:nvSpPr>
                <p:spPr bwMode="auto">
                  <a:xfrm>
                    <a:off x="2797" y="2181"/>
                    <a:ext cx="30" cy="28"/>
                  </a:xfrm>
                  <a:prstGeom prst="ellipse">
                    <a:avLst/>
                  </a:pr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7" name="Line 58"/>
                  <p:cNvSpPr>
                    <a:spLocks noChangeShapeType="1"/>
                  </p:cNvSpPr>
                  <p:nvPr/>
                </p:nvSpPr>
                <p:spPr bwMode="auto">
                  <a:xfrm>
                    <a:off x="2812" y="2195"/>
                    <a:ext cx="0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8" name="Line 59"/>
                  <p:cNvSpPr>
                    <a:spLocks noChangeShapeType="1"/>
                  </p:cNvSpPr>
                  <p:nvPr/>
                </p:nvSpPr>
                <p:spPr bwMode="auto">
                  <a:xfrm>
                    <a:off x="2812" y="2195"/>
                    <a:ext cx="0" cy="0"/>
                  </a:xfrm>
                  <a:prstGeom prst="line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9" name="Freeform 60"/>
                  <p:cNvSpPr>
                    <a:spLocks/>
                  </p:cNvSpPr>
                  <p:nvPr/>
                </p:nvSpPr>
                <p:spPr bwMode="auto">
                  <a:xfrm>
                    <a:off x="2729" y="2085"/>
                    <a:ext cx="168" cy="47"/>
                  </a:xfrm>
                  <a:custGeom>
                    <a:avLst/>
                    <a:gdLst>
                      <a:gd name="T0" fmla="*/ 17 w 238"/>
                      <a:gd name="T1" fmla="*/ 66 h 66"/>
                      <a:gd name="T2" fmla="*/ 5 w 238"/>
                      <a:gd name="T3" fmla="*/ 60 h 66"/>
                      <a:gd name="T4" fmla="*/ 8 w 238"/>
                      <a:gd name="T5" fmla="*/ 38 h 66"/>
                      <a:gd name="T6" fmla="*/ 121 w 238"/>
                      <a:gd name="T7" fmla="*/ 0 h 66"/>
                      <a:gd name="T8" fmla="*/ 230 w 238"/>
                      <a:gd name="T9" fmla="*/ 35 h 66"/>
                      <a:gd name="T10" fmla="*/ 233 w 238"/>
                      <a:gd name="T11" fmla="*/ 56 h 66"/>
                      <a:gd name="T12" fmla="*/ 212 w 238"/>
                      <a:gd name="T13" fmla="*/ 60 h 66"/>
                      <a:gd name="T14" fmla="*/ 121 w 238"/>
                      <a:gd name="T15" fmla="*/ 31 h 66"/>
                      <a:gd name="T16" fmla="*/ 26 w 238"/>
                      <a:gd name="T17" fmla="*/ 63 h 66"/>
                      <a:gd name="T18" fmla="*/ 17 w 238"/>
                      <a:gd name="T19" fmla="*/ 66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8" h="66">
                        <a:moveTo>
                          <a:pt x="17" y="66"/>
                        </a:moveTo>
                        <a:cubicBezTo>
                          <a:pt x="12" y="66"/>
                          <a:pt x="8" y="64"/>
                          <a:pt x="5" y="60"/>
                        </a:cubicBezTo>
                        <a:cubicBezTo>
                          <a:pt x="0" y="53"/>
                          <a:pt x="1" y="43"/>
                          <a:pt x="8" y="38"/>
                        </a:cubicBezTo>
                        <a:cubicBezTo>
                          <a:pt x="41" y="13"/>
                          <a:pt x="80" y="0"/>
                          <a:pt x="121" y="0"/>
                        </a:cubicBezTo>
                        <a:cubicBezTo>
                          <a:pt x="160" y="0"/>
                          <a:pt x="198" y="12"/>
                          <a:pt x="230" y="35"/>
                        </a:cubicBezTo>
                        <a:cubicBezTo>
                          <a:pt x="237" y="40"/>
                          <a:pt x="238" y="49"/>
                          <a:pt x="233" y="56"/>
                        </a:cubicBezTo>
                        <a:cubicBezTo>
                          <a:pt x="228" y="63"/>
                          <a:pt x="219" y="65"/>
                          <a:pt x="212" y="60"/>
                        </a:cubicBezTo>
                        <a:cubicBezTo>
                          <a:pt x="185" y="41"/>
                          <a:pt x="154" y="31"/>
                          <a:pt x="121" y="31"/>
                        </a:cubicBezTo>
                        <a:cubicBezTo>
                          <a:pt x="87" y="31"/>
                          <a:pt x="54" y="42"/>
                          <a:pt x="26" y="63"/>
                        </a:cubicBezTo>
                        <a:cubicBezTo>
                          <a:pt x="24" y="65"/>
                          <a:pt x="20" y="66"/>
                          <a:pt x="17" y="6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0" name="Freeform 61"/>
                  <p:cNvSpPr>
                    <a:spLocks/>
                  </p:cNvSpPr>
                  <p:nvPr/>
                </p:nvSpPr>
                <p:spPr bwMode="auto">
                  <a:xfrm>
                    <a:off x="2671" y="1990"/>
                    <a:ext cx="284" cy="68"/>
                  </a:xfrm>
                  <a:custGeom>
                    <a:avLst/>
                    <a:gdLst>
                      <a:gd name="T0" fmla="*/ 17 w 400"/>
                      <a:gd name="T1" fmla="*/ 96 h 96"/>
                      <a:gd name="T2" fmla="*/ 6 w 400"/>
                      <a:gd name="T3" fmla="*/ 90 h 96"/>
                      <a:gd name="T4" fmla="*/ 8 w 400"/>
                      <a:gd name="T5" fmla="*/ 69 h 96"/>
                      <a:gd name="T6" fmla="*/ 202 w 400"/>
                      <a:gd name="T7" fmla="*/ 0 h 96"/>
                      <a:gd name="T8" fmla="*/ 392 w 400"/>
                      <a:gd name="T9" fmla="*/ 65 h 96"/>
                      <a:gd name="T10" fmla="*/ 395 w 400"/>
                      <a:gd name="T11" fmla="*/ 87 h 96"/>
                      <a:gd name="T12" fmla="*/ 373 w 400"/>
                      <a:gd name="T13" fmla="*/ 89 h 96"/>
                      <a:gd name="T14" fmla="*/ 202 w 400"/>
                      <a:gd name="T15" fmla="*/ 30 h 96"/>
                      <a:gd name="T16" fmla="*/ 27 w 400"/>
                      <a:gd name="T17" fmla="*/ 92 h 96"/>
                      <a:gd name="T18" fmla="*/ 17 w 400"/>
                      <a:gd name="T19" fmla="*/ 96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00" h="96">
                        <a:moveTo>
                          <a:pt x="17" y="96"/>
                        </a:moveTo>
                        <a:cubicBezTo>
                          <a:pt x="13" y="96"/>
                          <a:pt x="9" y="94"/>
                          <a:pt x="6" y="90"/>
                        </a:cubicBezTo>
                        <a:cubicBezTo>
                          <a:pt x="0" y="84"/>
                          <a:pt x="1" y="74"/>
                          <a:pt x="8" y="69"/>
                        </a:cubicBezTo>
                        <a:cubicBezTo>
                          <a:pt x="62" y="24"/>
                          <a:pt x="131" y="0"/>
                          <a:pt x="202" y="0"/>
                        </a:cubicBezTo>
                        <a:cubicBezTo>
                          <a:pt x="272" y="0"/>
                          <a:pt x="337" y="22"/>
                          <a:pt x="392" y="65"/>
                        </a:cubicBezTo>
                        <a:cubicBezTo>
                          <a:pt x="399" y="70"/>
                          <a:pt x="400" y="80"/>
                          <a:pt x="395" y="87"/>
                        </a:cubicBezTo>
                        <a:cubicBezTo>
                          <a:pt x="389" y="93"/>
                          <a:pt x="380" y="94"/>
                          <a:pt x="373" y="89"/>
                        </a:cubicBezTo>
                        <a:cubicBezTo>
                          <a:pt x="324" y="51"/>
                          <a:pt x="265" y="30"/>
                          <a:pt x="202" y="30"/>
                        </a:cubicBezTo>
                        <a:cubicBezTo>
                          <a:pt x="138" y="30"/>
                          <a:pt x="76" y="52"/>
                          <a:pt x="27" y="92"/>
                        </a:cubicBezTo>
                        <a:cubicBezTo>
                          <a:pt x="24" y="95"/>
                          <a:pt x="21" y="96"/>
                          <a:pt x="17" y="9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1" name="Freeform 62"/>
                  <p:cNvSpPr>
                    <a:spLocks/>
                  </p:cNvSpPr>
                  <p:nvPr/>
                </p:nvSpPr>
                <p:spPr bwMode="auto">
                  <a:xfrm>
                    <a:off x="2671" y="1990"/>
                    <a:ext cx="284" cy="68"/>
                  </a:xfrm>
                  <a:custGeom>
                    <a:avLst/>
                    <a:gdLst>
                      <a:gd name="T0" fmla="*/ 17 w 400"/>
                      <a:gd name="T1" fmla="*/ 96 h 96"/>
                      <a:gd name="T2" fmla="*/ 6 w 400"/>
                      <a:gd name="T3" fmla="*/ 90 h 96"/>
                      <a:gd name="T4" fmla="*/ 8 w 400"/>
                      <a:gd name="T5" fmla="*/ 69 h 96"/>
                      <a:gd name="T6" fmla="*/ 202 w 400"/>
                      <a:gd name="T7" fmla="*/ 0 h 96"/>
                      <a:gd name="T8" fmla="*/ 392 w 400"/>
                      <a:gd name="T9" fmla="*/ 65 h 96"/>
                      <a:gd name="T10" fmla="*/ 395 w 400"/>
                      <a:gd name="T11" fmla="*/ 87 h 96"/>
                      <a:gd name="T12" fmla="*/ 373 w 400"/>
                      <a:gd name="T13" fmla="*/ 89 h 96"/>
                      <a:gd name="T14" fmla="*/ 202 w 400"/>
                      <a:gd name="T15" fmla="*/ 30 h 96"/>
                      <a:gd name="T16" fmla="*/ 27 w 400"/>
                      <a:gd name="T17" fmla="*/ 92 h 96"/>
                      <a:gd name="T18" fmla="*/ 17 w 400"/>
                      <a:gd name="T19" fmla="*/ 96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00" h="96">
                        <a:moveTo>
                          <a:pt x="17" y="96"/>
                        </a:moveTo>
                        <a:cubicBezTo>
                          <a:pt x="13" y="96"/>
                          <a:pt x="9" y="94"/>
                          <a:pt x="6" y="90"/>
                        </a:cubicBezTo>
                        <a:cubicBezTo>
                          <a:pt x="0" y="84"/>
                          <a:pt x="1" y="74"/>
                          <a:pt x="8" y="69"/>
                        </a:cubicBezTo>
                        <a:cubicBezTo>
                          <a:pt x="62" y="24"/>
                          <a:pt x="131" y="0"/>
                          <a:pt x="202" y="0"/>
                        </a:cubicBezTo>
                        <a:cubicBezTo>
                          <a:pt x="272" y="0"/>
                          <a:pt x="337" y="22"/>
                          <a:pt x="392" y="65"/>
                        </a:cubicBezTo>
                        <a:cubicBezTo>
                          <a:pt x="399" y="70"/>
                          <a:pt x="400" y="80"/>
                          <a:pt x="395" y="87"/>
                        </a:cubicBezTo>
                        <a:cubicBezTo>
                          <a:pt x="389" y="93"/>
                          <a:pt x="380" y="94"/>
                          <a:pt x="373" y="89"/>
                        </a:cubicBezTo>
                        <a:cubicBezTo>
                          <a:pt x="324" y="51"/>
                          <a:pt x="265" y="30"/>
                          <a:pt x="202" y="30"/>
                        </a:cubicBezTo>
                        <a:cubicBezTo>
                          <a:pt x="138" y="30"/>
                          <a:pt x="76" y="52"/>
                          <a:pt x="27" y="92"/>
                        </a:cubicBezTo>
                        <a:cubicBezTo>
                          <a:pt x="24" y="95"/>
                          <a:pt x="21" y="96"/>
                          <a:pt x="17" y="9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62" name="Freeform 63"/>
                  <p:cNvSpPr>
                    <a:spLocks/>
                  </p:cNvSpPr>
                  <p:nvPr/>
                </p:nvSpPr>
                <p:spPr bwMode="auto">
                  <a:xfrm>
                    <a:off x="2607" y="1885"/>
                    <a:ext cx="412" cy="90"/>
                  </a:xfrm>
                  <a:custGeom>
                    <a:avLst/>
                    <a:gdLst>
                      <a:gd name="T0" fmla="*/ 17 w 582"/>
                      <a:gd name="T1" fmla="*/ 126 h 126"/>
                      <a:gd name="T2" fmla="*/ 5 w 582"/>
                      <a:gd name="T3" fmla="*/ 120 h 126"/>
                      <a:gd name="T4" fmla="*/ 8 w 582"/>
                      <a:gd name="T5" fmla="*/ 99 h 126"/>
                      <a:gd name="T6" fmla="*/ 293 w 582"/>
                      <a:gd name="T7" fmla="*/ 0 h 126"/>
                      <a:gd name="T8" fmla="*/ 574 w 582"/>
                      <a:gd name="T9" fmla="*/ 95 h 126"/>
                      <a:gd name="T10" fmla="*/ 577 w 582"/>
                      <a:gd name="T11" fmla="*/ 117 h 126"/>
                      <a:gd name="T12" fmla="*/ 556 w 582"/>
                      <a:gd name="T13" fmla="*/ 120 h 126"/>
                      <a:gd name="T14" fmla="*/ 293 w 582"/>
                      <a:gd name="T15" fmla="*/ 31 h 126"/>
                      <a:gd name="T16" fmla="*/ 26 w 582"/>
                      <a:gd name="T17" fmla="*/ 123 h 126"/>
                      <a:gd name="T18" fmla="*/ 17 w 582"/>
                      <a:gd name="T19" fmla="*/ 126 h 1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82" h="126">
                        <a:moveTo>
                          <a:pt x="17" y="126"/>
                        </a:moveTo>
                        <a:cubicBezTo>
                          <a:pt x="12" y="126"/>
                          <a:pt x="8" y="124"/>
                          <a:pt x="5" y="120"/>
                        </a:cubicBezTo>
                        <a:cubicBezTo>
                          <a:pt x="0" y="114"/>
                          <a:pt x="1" y="104"/>
                          <a:pt x="8" y="99"/>
                        </a:cubicBezTo>
                        <a:cubicBezTo>
                          <a:pt x="90" y="34"/>
                          <a:pt x="188" y="0"/>
                          <a:pt x="293" y="0"/>
                        </a:cubicBezTo>
                        <a:cubicBezTo>
                          <a:pt x="396" y="0"/>
                          <a:pt x="493" y="33"/>
                          <a:pt x="574" y="95"/>
                        </a:cubicBezTo>
                        <a:cubicBezTo>
                          <a:pt x="581" y="100"/>
                          <a:pt x="582" y="110"/>
                          <a:pt x="577" y="117"/>
                        </a:cubicBezTo>
                        <a:cubicBezTo>
                          <a:pt x="572" y="123"/>
                          <a:pt x="562" y="125"/>
                          <a:pt x="556" y="120"/>
                        </a:cubicBezTo>
                        <a:cubicBezTo>
                          <a:pt x="480" y="62"/>
                          <a:pt x="389" y="31"/>
                          <a:pt x="293" y="31"/>
                        </a:cubicBezTo>
                        <a:cubicBezTo>
                          <a:pt x="195" y="31"/>
                          <a:pt x="103" y="63"/>
                          <a:pt x="26" y="123"/>
                        </a:cubicBezTo>
                        <a:cubicBezTo>
                          <a:pt x="24" y="125"/>
                          <a:pt x="20" y="126"/>
                          <a:pt x="17" y="126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28" name="Group 121"/>
                <p:cNvGrpSpPr>
                  <a:grpSpLocks noChangeAspect="1"/>
                </p:cNvGrpSpPr>
                <p:nvPr/>
              </p:nvGrpSpPr>
              <p:grpSpPr>
                <a:xfrm>
                  <a:off x="2046430" y="3508233"/>
                  <a:ext cx="551245" cy="256672"/>
                  <a:chOff x="706438" y="2035175"/>
                  <a:chExt cx="8686800" cy="3895724"/>
                </a:xfrm>
              </p:grpSpPr>
              <p:sp>
                <p:nvSpPr>
                  <p:cNvPr id="48" name="Freeform 158"/>
                  <p:cNvSpPr>
                    <a:spLocks noEditPoints="1"/>
                  </p:cNvSpPr>
                  <p:nvPr/>
                </p:nvSpPr>
                <p:spPr bwMode="auto">
                  <a:xfrm>
                    <a:off x="706438" y="2035175"/>
                    <a:ext cx="5578480" cy="2273297"/>
                  </a:xfrm>
                  <a:custGeom>
                    <a:avLst/>
                    <a:gdLst>
                      <a:gd name="T0" fmla="*/ 568 w 585"/>
                      <a:gd name="T1" fmla="*/ 238 h 238"/>
                      <a:gd name="T2" fmla="*/ 19 w 585"/>
                      <a:gd name="T3" fmla="*/ 238 h 238"/>
                      <a:gd name="T4" fmla="*/ 2 w 585"/>
                      <a:gd name="T5" fmla="*/ 221 h 238"/>
                      <a:gd name="T6" fmla="*/ 2 w 585"/>
                      <a:gd name="T7" fmla="*/ 67 h 238"/>
                      <a:gd name="T8" fmla="*/ 18 w 585"/>
                      <a:gd name="T9" fmla="*/ 18 h 238"/>
                      <a:gd name="T10" fmla="*/ 63 w 585"/>
                      <a:gd name="T11" fmla="*/ 0 h 238"/>
                      <a:gd name="T12" fmla="*/ 568 w 585"/>
                      <a:gd name="T13" fmla="*/ 0 h 238"/>
                      <a:gd name="T14" fmla="*/ 585 w 585"/>
                      <a:gd name="T15" fmla="*/ 17 h 238"/>
                      <a:gd name="T16" fmla="*/ 585 w 585"/>
                      <a:gd name="T17" fmla="*/ 221 h 238"/>
                      <a:gd name="T18" fmla="*/ 568 w 585"/>
                      <a:gd name="T19" fmla="*/ 238 h 238"/>
                      <a:gd name="T20" fmla="*/ 36 w 585"/>
                      <a:gd name="T21" fmla="*/ 205 h 238"/>
                      <a:gd name="T22" fmla="*/ 551 w 585"/>
                      <a:gd name="T23" fmla="*/ 205 h 238"/>
                      <a:gd name="T24" fmla="*/ 551 w 585"/>
                      <a:gd name="T25" fmla="*/ 33 h 238"/>
                      <a:gd name="T26" fmla="*/ 63 w 585"/>
                      <a:gd name="T27" fmla="*/ 33 h 238"/>
                      <a:gd name="T28" fmla="*/ 42 w 585"/>
                      <a:gd name="T29" fmla="*/ 40 h 238"/>
                      <a:gd name="T30" fmla="*/ 36 w 585"/>
                      <a:gd name="T31" fmla="*/ 65 h 238"/>
                      <a:gd name="T32" fmla="*/ 36 w 585"/>
                      <a:gd name="T33" fmla="*/ 205 h 2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585" h="238">
                        <a:moveTo>
                          <a:pt x="568" y="238"/>
                        </a:moveTo>
                        <a:cubicBezTo>
                          <a:pt x="19" y="238"/>
                          <a:pt x="19" y="238"/>
                          <a:pt x="19" y="238"/>
                        </a:cubicBezTo>
                        <a:cubicBezTo>
                          <a:pt x="10" y="238"/>
                          <a:pt x="2" y="231"/>
                          <a:pt x="2" y="221"/>
                        </a:cubicBezTo>
                        <a:cubicBezTo>
                          <a:pt x="2" y="67"/>
                          <a:pt x="2" y="67"/>
                          <a:pt x="2" y="67"/>
                        </a:cubicBezTo>
                        <a:cubicBezTo>
                          <a:pt x="2" y="65"/>
                          <a:pt x="0" y="38"/>
                          <a:pt x="18" y="18"/>
                        </a:cubicBezTo>
                        <a:cubicBezTo>
                          <a:pt x="25" y="10"/>
                          <a:pt x="39" y="0"/>
                          <a:pt x="63" y="0"/>
                        </a:cubicBezTo>
                        <a:cubicBezTo>
                          <a:pt x="568" y="0"/>
                          <a:pt x="568" y="0"/>
                          <a:pt x="568" y="0"/>
                        </a:cubicBezTo>
                        <a:cubicBezTo>
                          <a:pt x="577" y="0"/>
                          <a:pt x="585" y="7"/>
                          <a:pt x="585" y="17"/>
                        </a:cubicBezTo>
                        <a:cubicBezTo>
                          <a:pt x="585" y="221"/>
                          <a:pt x="585" y="221"/>
                          <a:pt x="585" y="221"/>
                        </a:cubicBezTo>
                        <a:cubicBezTo>
                          <a:pt x="585" y="231"/>
                          <a:pt x="577" y="238"/>
                          <a:pt x="568" y="238"/>
                        </a:cubicBezTo>
                        <a:close/>
                        <a:moveTo>
                          <a:pt x="36" y="205"/>
                        </a:moveTo>
                        <a:cubicBezTo>
                          <a:pt x="551" y="205"/>
                          <a:pt x="551" y="205"/>
                          <a:pt x="551" y="205"/>
                        </a:cubicBezTo>
                        <a:cubicBezTo>
                          <a:pt x="551" y="33"/>
                          <a:pt x="551" y="33"/>
                          <a:pt x="551" y="33"/>
                        </a:cubicBezTo>
                        <a:cubicBezTo>
                          <a:pt x="63" y="33"/>
                          <a:pt x="63" y="33"/>
                          <a:pt x="63" y="33"/>
                        </a:cubicBezTo>
                        <a:cubicBezTo>
                          <a:pt x="53" y="33"/>
                          <a:pt x="47" y="36"/>
                          <a:pt x="42" y="40"/>
                        </a:cubicBezTo>
                        <a:cubicBezTo>
                          <a:pt x="35" y="48"/>
                          <a:pt x="35" y="62"/>
                          <a:pt x="36" y="65"/>
                        </a:cubicBezTo>
                        <a:lnTo>
                          <a:pt x="36" y="205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49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6923088" y="2035175"/>
                    <a:ext cx="2470150" cy="3275015"/>
                  </a:xfrm>
                  <a:custGeom>
                    <a:avLst/>
                    <a:gdLst>
                      <a:gd name="T0" fmla="*/ 242 w 259"/>
                      <a:gd name="T1" fmla="*/ 343 h 343"/>
                      <a:gd name="T2" fmla="*/ 91 w 259"/>
                      <a:gd name="T3" fmla="*/ 343 h 343"/>
                      <a:gd name="T4" fmla="*/ 75 w 259"/>
                      <a:gd name="T5" fmla="*/ 327 h 343"/>
                      <a:gd name="T6" fmla="*/ 91 w 259"/>
                      <a:gd name="T7" fmla="*/ 310 h 343"/>
                      <a:gd name="T8" fmla="*/ 225 w 259"/>
                      <a:gd name="T9" fmla="*/ 310 h 343"/>
                      <a:gd name="T10" fmla="*/ 225 w 259"/>
                      <a:gd name="T11" fmla="*/ 232 h 343"/>
                      <a:gd name="T12" fmla="*/ 188 w 259"/>
                      <a:gd name="T13" fmla="*/ 188 h 343"/>
                      <a:gd name="T14" fmla="*/ 16 w 259"/>
                      <a:gd name="T15" fmla="*/ 188 h 343"/>
                      <a:gd name="T16" fmla="*/ 0 w 259"/>
                      <a:gd name="T17" fmla="*/ 172 h 343"/>
                      <a:gd name="T18" fmla="*/ 0 w 259"/>
                      <a:gd name="T19" fmla="*/ 17 h 343"/>
                      <a:gd name="T20" fmla="*/ 16 w 259"/>
                      <a:gd name="T21" fmla="*/ 0 h 343"/>
                      <a:gd name="T22" fmla="*/ 107 w 259"/>
                      <a:gd name="T23" fmla="*/ 0 h 343"/>
                      <a:gd name="T24" fmla="*/ 151 w 259"/>
                      <a:gd name="T25" fmla="*/ 18 h 343"/>
                      <a:gd name="T26" fmla="*/ 171 w 259"/>
                      <a:gd name="T27" fmla="*/ 69 h 343"/>
                      <a:gd name="T28" fmla="*/ 171 w 259"/>
                      <a:gd name="T29" fmla="*/ 155 h 343"/>
                      <a:gd name="T30" fmla="*/ 188 w 259"/>
                      <a:gd name="T31" fmla="*/ 155 h 343"/>
                      <a:gd name="T32" fmla="*/ 259 w 259"/>
                      <a:gd name="T33" fmla="*/ 232 h 343"/>
                      <a:gd name="T34" fmla="*/ 259 w 259"/>
                      <a:gd name="T35" fmla="*/ 327 h 343"/>
                      <a:gd name="T36" fmla="*/ 242 w 259"/>
                      <a:gd name="T37" fmla="*/ 343 h 343"/>
                      <a:gd name="T38" fmla="*/ 33 w 259"/>
                      <a:gd name="T39" fmla="*/ 155 h 343"/>
                      <a:gd name="T40" fmla="*/ 137 w 259"/>
                      <a:gd name="T41" fmla="*/ 155 h 343"/>
                      <a:gd name="T42" fmla="*/ 137 w 259"/>
                      <a:gd name="T43" fmla="*/ 69 h 343"/>
                      <a:gd name="T44" fmla="*/ 128 w 259"/>
                      <a:gd name="T45" fmla="*/ 42 h 343"/>
                      <a:gd name="T46" fmla="*/ 107 w 259"/>
                      <a:gd name="T47" fmla="*/ 33 h 343"/>
                      <a:gd name="T48" fmla="*/ 107 w 259"/>
                      <a:gd name="T49" fmla="*/ 33 h 343"/>
                      <a:gd name="T50" fmla="*/ 33 w 259"/>
                      <a:gd name="T51" fmla="*/ 33 h 343"/>
                      <a:gd name="T52" fmla="*/ 33 w 259"/>
                      <a:gd name="T53" fmla="*/ 155 h 3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259" h="343">
                        <a:moveTo>
                          <a:pt x="242" y="343"/>
                        </a:moveTo>
                        <a:cubicBezTo>
                          <a:pt x="91" y="343"/>
                          <a:pt x="91" y="343"/>
                          <a:pt x="91" y="343"/>
                        </a:cubicBezTo>
                        <a:cubicBezTo>
                          <a:pt x="82" y="343"/>
                          <a:pt x="75" y="336"/>
                          <a:pt x="75" y="327"/>
                        </a:cubicBezTo>
                        <a:cubicBezTo>
                          <a:pt x="75" y="317"/>
                          <a:pt x="82" y="310"/>
                          <a:pt x="91" y="310"/>
                        </a:cubicBezTo>
                        <a:cubicBezTo>
                          <a:pt x="225" y="310"/>
                          <a:pt x="225" y="310"/>
                          <a:pt x="225" y="310"/>
                        </a:cubicBezTo>
                        <a:cubicBezTo>
                          <a:pt x="225" y="232"/>
                          <a:pt x="225" y="232"/>
                          <a:pt x="225" y="232"/>
                        </a:cubicBezTo>
                        <a:cubicBezTo>
                          <a:pt x="225" y="190"/>
                          <a:pt x="192" y="188"/>
                          <a:pt x="188" y="188"/>
                        </a:cubicBezTo>
                        <a:cubicBezTo>
                          <a:pt x="16" y="188"/>
                          <a:pt x="16" y="188"/>
                          <a:pt x="16" y="188"/>
                        </a:cubicBezTo>
                        <a:cubicBezTo>
                          <a:pt x="7" y="188"/>
                          <a:pt x="0" y="181"/>
                          <a:pt x="0" y="172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107" y="0"/>
                          <a:pt x="107" y="0"/>
                          <a:pt x="107" y="0"/>
                        </a:cubicBezTo>
                        <a:cubicBezTo>
                          <a:pt x="109" y="0"/>
                          <a:pt x="133" y="0"/>
                          <a:pt x="151" y="18"/>
                        </a:cubicBezTo>
                        <a:cubicBezTo>
                          <a:pt x="164" y="30"/>
                          <a:pt x="171" y="48"/>
                          <a:pt x="171" y="69"/>
                        </a:cubicBezTo>
                        <a:cubicBezTo>
                          <a:pt x="171" y="155"/>
                          <a:pt x="171" y="155"/>
                          <a:pt x="171" y="155"/>
                        </a:cubicBezTo>
                        <a:cubicBezTo>
                          <a:pt x="188" y="155"/>
                          <a:pt x="188" y="155"/>
                          <a:pt x="188" y="155"/>
                        </a:cubicBezTo>
                        <a:cubicBezTo>
                          <a:pt x="208" y="155"/>
                          <a:pt x="259" y="169"/>
                          <a:pt x="259" y="232"/>
                        </a:cubicBezTo>
                        <a:cubicBezTo>
                          <a:pt x="259" y="327"/>
                          <a:pt x="259" y="327"/>
                          <a:pt x="259" y="327"/>
                        </a:cubicBezTo>
                        <a:cubicBezTo>
                          <a:pt x="259" y="336"/>
                          <a:pt x="251" y="343"/>
                          <a:pt x="242" y="343"/>
                        </a:cubicBezTo>
                        <a:close/>
                        <a:moveTo>
                          <a:pt x="33" y="155"/>
                        </a:moveTo>
                        <a:cubicBezTo>
                          <a:pt x="137" y="155"/>
                          <a:pt x="137" y="155"/>
                          <a:pt x="137" y="155"/>
                        </a:cubicBezTo>
                        <a:cubicBezTo>
                          <a:pt x="137" y="69"/>
                          <a:pt x="137" y="69"/>
                          <a:pt x="137" y="69"/>
                        </a:cubicBezTo>
                        <a:cubicBezTo>
                          <a:pt x="137" y="57"/>
                          <a:pt x="134" y="48"/>
                          <a:pt x="128" y="42"/>
                        </a:cubicBezTo>
                        <a:cubicBezTo>
                          <a:pt x="120" y="34"/>
                          <a:pt x="107" y="33"/>
                          <a:pt x="107" y="33"/>
                        </a:cubicBezTo>
                        <a:cubicBezTo>
                          <a:pt x="107" y="33"/>
                          <a:pt x="107" y="33"/>
                          <a:pt x="107" y="33"/>
                        </a:cubicBezTo>
                        <a:cubicBezTo>
                          <a:pt x="33" y="33"/>
                          <a:pt x="33" y="33"/>
                          <a:pt x="33" y="33"/>
                        </a:cubicBezTo>
                        <a:lnTo>
                          <a:pt x="33" y="155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0" name="Freeform 160"/>
                  <p:cNvSpPr>
                    <a:spLocks/>
                  </p:cNvSpPr>
                  <p:nvPr/>
                </p:nvSpPr>
                <p:spPr bwMode="auto">
                  <a:xfrm>
                    <a:off x="725488" y="4995861"/>
                    <a:ext cx="1049340" cy="314329"/>
                  </a:xfrm>
                  <a:custGeom>
                    <a:avLst/>
                    <a:gdLst>
                      <a:gd name="T0" fmla="*/ 93 w 110"/>
                      <a:gd name="T1" fmla="*/ 33 h 33"/>
                      <a:gd name="T2" fmla="*/ 17 w 110"/>
                      <a:gd name="T3" fmla="*/ 33 h 33"/>
                      <a:gd name="T4" fmla="*/ 0 w 110"/>
                      <a:gd name="T5" fmla="*/ 17 h 33"/>
                      <a:gd name="T6" fmla="*/ 17 w 110"/>
                      <a:gd name="T7" fmla="*/ 0 h 33"/>
                      <a:gd name="T8" fmla="*/ 93 w 110"/>
                      <a:gd name="T9" fmla="*/ 0 h 33"/>
                      <a:gd name="T10" fmla="*/ 110 w 110"/>
                      <a:gd name="T11" fmla="*/ 17 h 33"/>
                      <a:gd name="T12" fmla="*/ 93 w 110"/>
                      <a:gd name="T13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0" h="33">
                        <a:moveTo>
                          <a:pt x="93" y="33"/>
                        </a:moveTo>
                        <a:cubicBezTo>
                          <a:pt x="17" y="33"/>
                          <a:pt x="17" y="33"/>
                          <a:pt x="17" y="33"/>
                        </a:cubicBezTo>
                        <a:cubicBezTo>
                          <a:pt x="7" y="33"/>
                          <a:pt x="0" y="26"/>
                          <a:pt x="0" y="17"/>
                        </a:cubicBezTo>
                        <a:cubicBezTo>
                          <a:pt x="0" y="7"/>
                          <a:pt x="7" y="0"/>
                          <a:pt x="17" y="0"/>
                        </a:cubicBezTo>
                        <a:cubicBezTo>
                          <a:pt x="93" y="0"/>
                          <a:pt x="93" y="0"/>
                          <a:pt x="93" y="0"/>
                        </a:cubicBezTo>
                        <a:cubicBezTo>
                          <a:pt x="103" y="0"/>
                          <a:pt x="110" y="7"/>
                          <a:pt x="110" y="17"/>
                        </a:cubicBezTo>
                        <a:cubicBezTo>
                          <a:pt x="110" y="26"/>
                          <a:pt x="103" y="33"/>
                          <a:pt x="93" y="33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1" name="Freeform 161"/>
                  <p:cNvSpPr>
                    <a:spLocks/>
                  </p:cNvSpPr>
                  <p:nvPr/>
                </p:nvSpPr>
                <p:spPr bwMode="auto">
                  <a:xfrm>
                    <a:off x="2632078" y="4995861"/>
                    <a:ext cx="4033840" cy="314329"/>
                  </a:xfrm>
                  <a:custGeom>
                    <a:avLst/>
                    <a:gdLst>
                      <a:gd name="T0" fmla="*/ 406 w 423"/>
                      <a:gd name="T1" fmla="*/ 33 h 33"/>
                      <a:gd name="T2" fmla="*/ 16 w 423"/>
                      <a:gd name="T3" fmla="*/ 33 h 33"/>
                      <a:gd name="T4" fmla="*/ 0 w 423"/>
                      <a:gd name="T5" fmla="*/ 17 h 33"/>
                      <a:gd name="T6" fmla="*/ 16 w 423"/>
                      <a:gd name="T7" fmla="*/ 0 h 33"/>
                      <a:gd name="T8" fmla="*/ 406 w 423"/>
                      <a:gd name="T9" fmla="*/ 0 h 33"/>
                      <a:gd name="T10" fmla="*/ 423 w 423"/>
                      <a:gd name="T11" fmla="*/ 17 h 33"/>
                      <a:gd name="T12" fmla="*/ 406 w 423"/>
                      <a:gd name="T13" fmla="*/ 33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23" h="33">
                        <a:moveTo>
                          <a:pt x="406" y="33"/>
                        </a:moveTo>
                        <a:cubicBezTo>
                          <a:pt x="16" y="33"/>
                          <a:pt x="16" y="33"/>
                          <a:pt x="16" y="33"/>
                        </a:cubicBezTo>
                        <a:cubicBezTo>
                          <a:pt x="7" y="33"/>
                          <a:pt x="0" y="26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406" y="0"/>
                          <a:pt x="406" y="0"/>
                          <a:pt x="406" y="0"/>
                        </a:cubicBezTo>
                        <a:cubicBezTo>
                          <a:pt x="415" y="0"/>
                          <a:pt x="423" y="7"/>
                          <a:pt x="423" y="17"/>
                        </a:cubicBezTo>
                        <a:cubicBezTo>
                          <a:pt x="423" y="26"/>
                          <a:pt x="415" y="33"/>
                          <a:pt x="406" y="33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2" name="Freeform 162"/>
                  <p:cNvSpPr>
                    <a:spLocks/>
                  </p:cNvSpPr>
                  <p:nvPr/>
                </p:nvSpPr>
                <p:spPr bwMode="auto">
                  <a:xfrm>
                    <a:off x="6923088" y="3514723"/>
                    <a:ext cx="315910" cy="1241428"/>
                  </a:xfrm>
                  <a:custGeom>
                    <a:avLst/>
                    <a:gdLst>
                      <a:gd name="T0" fmla="*/ 16 w 33"/>
                      <a:gd name="T1" fmla="*/ 130 h 130"/>
                      <a:gd name="T2" fmla="*/ 0 w 33"/>
                      <a:gd name="T3" fmla="*/ 113 h 130"/>
                      <a:gd name="T4" fmla="*/ 0 w 33"/>
                      <a:gd name="T5" fmla="*/ 17 h 130"/>
                      <a:gd name="T6" fmla="*/ 16 w 33"/>
                      <a:gd name="T7" fmla="*/ 0 h 130"/>
                      <a:gd name="T8" fmla="*/ 33 w 33"/>
                      <a:gd name="T9" fmla="*/ 17 h 130"/>
                      <a:gd name="T10" fmla="*/ 33 w 33"/>
                      <a:gd name="T11" fmla="*/ 113 h 130"/>
                      <a:gd name="T12" fmla="*/ 16 w 33"/>
                      <a:gd name="T13" fmla="*/ 130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3" h="130">
                        <a:moveTo>
                          <a:pt x="16" y="130"/>
                        </a:moveTo>
                        <a:cubicBezTo>
                          <a:pt x="7" y="130"/>
                          <a:pt x="0" y="122"/>
                          <a:pt x="0" y="113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7"/>
                          <a:pt x="7" y="0"/>
                          <a:pt x="16" y="0"/>
                        </a:cubicBezTo>
                        <a:cubicBezTo>
                          <a:pt x="26" y="0"/>
                          <a:pt x="33" y="7"/>
                          <a:pt x="33" y="17"/>
                        </a:cubicBezTo>
                        <a:cubicBezTo>
                          <a:pt x="33" y="113"/>
                          <a:pt x="33" y="113"/>
                          <a:pt x="33" y="113"/>
                        </a:cubicBezTo>
                        <a:cubicBezTo>
                          <a:pt x="33" y="122"/>
                          <a:pt x="26" y="130"/>
                          <a:pt x="16" y="130"/>
                        </a:cubicBezTo>
                        <a:close/>
                      </a:path>
                    </a:pathLst>
                  </a:custGeom>
                  <a:solidFill>
                    <a:srgbClr val="5F606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3" name="Freeform 157"/>
                  <p:cNvSpPr>
                    <a:spLocks noEditPoints="1"/>
                  </p:cNvSpPr>
                  <p:nvPr/>
                </p:nvSpPr>
                <p:spPr bwMode="auto">
                  <a:xfrm>
                    <a:off x="6342068" y="4432301"/>
                    <a:ext cx="1497010" cy="1498598"/>
                  </a:xfrm>
                  <a:custGeom>
                    <a:avLst/>
                    <a:gdLst>
                      <a:gd name="T0" fmla="*/ 78 w 157"/>
                      <a:gd name="T1" fmla="*/ 157 h 157"/>
                      <a:gd name="T2" fmla="*/ 0 w 157"/>
                      <a:gd name="T3" fmla="*/ 78 h 157"/>
                      <a:gd name="T4" fmla="*/ 78 w 157"/>
                      <a:gd name="T5" fmla="*/ 0 h 157"/>
                      <a:gd name="T6" fmla="*/ 157 w 157"/>
                      <a:gd name="T7" fmla="*/ 78 h 157"/>
                      <a:gd name="T8" fmla="*/ 78 w 157"/>
                      <a:gd name="T9" fmla="*/ 157 h 157"/>
                      <a:gd name="T10" fmla="*/ 78 w 157"/>
                      <a:gd name="T11" fmla="*/ 34 h 157"/>
                      <a:gd name="T12" fmla="*/ 34 w 157"/>
                      <a:gd name="T13" fmla="*/ 78 h 157"/>
                      <a:gd name="T14" fmla="*/ 78 w 157"/>
                      <a:gd name="T15" fmla="*/ 123 h 157"/>
                      <a:gd name="T16" fmla="*/ 123 w 157"/>
                      <a:gd name="T17" fmla="*/ 78 h 157"/>
                      <a:gd name="T18" fmla="*/ 78 w 157"/>
                      <a:gd name="T19" fmla="*/ 34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7" h="157">
                        <a:moveTo>
                          <a:pt x="78" y="157"/>
                        </a:moveTo>
                        <a:cubicBezTo>
                          <a:pt x="35" y="157"/>
                          <a:pt x="0" y="122"/>
                          <a:pt x="0" y="78"/>
                        </a:cubicBezTo>
                        <a:cubicBezTo>
                          <a:pt x="0" y="35"/>
                          <a:pt x="35" y="0"/>
                          <a:pt x="78" y="0"/>
                        </a:cubicBezTo>
                        <a:cubicBezTo>
                          <a:pt x="121" y="0"/>
                          <a:pt x="157" y="35"/>
                          <a:pt x="157" y="78"/>
                        </a:cubicBezTo>
                        <a:cubicBezTo>
                          <a:pt x="157" y="122"/>
                          <a:pt x="121" y="157"/>
                          <a:pt x="78" y="157"/>
                        </a:cubicBezTo>
                        <a:close/>
                        <a:moveTo>
                          <a:pt x="78" y="34"/>
                        </a:moveTo>
                        <a:cubicBezTo>
                          <a:pt x="54" y="34"/>
                          <a:pt x="34" y="54"/>
                          <a:pt x="34" y="78"/>
                        </a:cubicBezTo>
                        <a:cubicBezTo>
                          <a:pt x="34" y="103"/>
                          <a:pt x="54" y="123"/>
                          <a:pt x="78" y="123"/>
                        </a:cubicBezTo>
                        <a:cubicBezTo>
                          <a:pt x="103" y="123"/>
                          <a:pt x="123" y="103"/>
                          <a:pt x="123" y="78"/>
                        </a:cubicBezTo>
                        <a:cubicBezTo>
                          <a:pt x="123" y="54"/>
                          <a:pt x="103" y="34"/>
                          <a:pt x="78" y="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accent1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54" name="Freeform 156"/>
                  <p:cNvSpPr>
                    <a:spLocks noEditPoints="1"/>
                  </p:cNvSpPr>
                  <p:nvPr/>
                </p:nvSpPr>
                <p:spPr bwMode="auto">
                  <a:xfrm>
                    <a:off x="1460498" y="4432301"/>
                    <a:ext cx="1487490" cy="1498598"/>
                  </a:xfrm>
                  <a:custGeom>
                    <a:avLst/>
                    <a:gdLst>
                      <a:gd name="T0" fmla="*/ 78 w 156"/>
                      <a:gd name="T1" fmla="*/ 157 h 157"/>
                      <a:gd name="T2" fmla="*/ 0 w 156"/>
                      <a:gd name="T3" fmla="*/ 78 h 157"/>
                      <a:gd name="T4" fmla="*/ 78 w 156"/>
                      <a:gd name="T5" fmla="*/ 0 h 157"/>
                      <a:gd name="T6" fmla="*/ 156 w 156"/>
                      <a:gd name="T7" fmla="*/ 78 h 157"/>
                      <a:gd name="T8" fmla="*/ 78 w 156"/>
                      <a:gd name="T9" fmla="*/ 157 h 157"/>
                      <a:gd name="T10" fmla="*/ 78 w 156"/>
                      <a:gd name="T11" fmla="*/ 34 h 157"/>
                      <a:gd name="T12" fmla="*/ 33 w 156"/>
                      <a:gd name="T13" fmla="*/ 78 h 157"/>
                      <a:gd name="T14" fmla="*/ 78 w 156"/>
                      <a:gd name="T15" fmla="*/ 123 h 157"/>
                      <a:gd name="T16" fmla="*/ 123 w 156"/>
                      <a:gd name="T17" fmla="*/ 78 h 157"/>
                      <a:gd name="T18" fmla="*/ 78 w 156"/>
                      <a:gd name="T19" fmla="*/ 34 h 1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6" h="157">
                        <a:moveTo>
                          <a:pt x="78" y="157"/>
                        </a:moveTo>
                        <a:cubicBezTo>
                          <a:pt x="35" y="157"/>
                          <a:pt x="0" y="122"/>
                          <a:pt x="0" y="78"/>
                        </a:cubicBezTo>
                        <a:cubicBezTo>
                          <a:pt x="0" y="35"/>
                          <a:pt x="35" y="0"/>
                          <a:pt x="78" y="0"/>
                        </a:cubicBezTo>
                        <a:cubicBezTo>
                          <a:pt x="121" y="0"/>
                          <a:pt x="156" y="35"/>
                          <a:pt x="156" y="78"/>
                        </a:cubicBezTo>
                        <a:cubicBezTo>
                          <a:pt x="156" y="122"/>
                          <a:pt x="121" y="157"/>
                          <a:pt x="78" y="157"/>
                        </a:cubicBezTo>
                        <a:close/>
                        <a:moveTo>
                          <a:pt x="78" y="34"/>
                        </a:moveTo>
                        <a:cubicBezTo>
                          <a:pt x="53" y="34"/>
                          <a:pt x="33" y="54"/>
                          <a:pt x="33" y="78"/>
                        </a:cubicBezTo>
                        <a:cubicBezTo>
                          <a:pt x="33" y="103"/>
                          <a:pt x="53" y="123"/>
                          <a:pt x="78" y="123"/>
                        </a:cubicBezTo>
                        <a:cubicBezTo>
                          <a:pt x="103" y="123"/>
                          <a:pt x="123" y="103"/>
                          <a:pt x="123" y="78"/>
                        </a:cubicBezTo>
                        <a:cubicBezTo>
                          <a:pt x="123" y="54"/>
                          <a:pt x="103" y="34"/>
                          <a:pt x="78" y="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solidFill>
                      <a:schemeClr val="accent1"/>
                    </a:solidFill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  <p:grpSp>
              <p:nvGrpSpPr>
                <p:cNvPr id="29" name="Group 250"/>
                <p:cNvGrpSpPr/>
                <p:nvPr/>
              </p:nvGrpSpPr>
              <p:grpSpPr>
                <a:xfrm>
                  <a:off x="1383669" y="3396497"/>
                  <a:ext cx="621560" cy="371306"/>
                  <a:chOff x="5645150" y="2416175"/>
                  <a:chExt cx="979488" cy="563563"/>
                </a:xfrm>
              </p:grpSpPr>
              <p:sp>
                <p:nvSpPr>
                  <p:cNvPr id="43" name="AutoShape 4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5645150" y="2416175"/>
                    <a:ext cx="968375" cy="5635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44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5737225" y="2760663"/>
                    <a:ext cx="225425" cy="219075"/>
                  </a:xfrm>
                  <a:custGeom>
                    <a:avLst/>
                    <a:gdLst/>
                    <a:ahLst/>
                    <a:cxnLst>
                      <a:cxn ang="0">
                        <a:pos x="13" y="195"/>
                      </a:cxn>
                      <a:cxn ang="0">
                        <a:pos x="1" y="185"/>
                      </a:cxn>
                      <a:cxn ang="0">
                        <a:pos x="10" y="170"/>
                      </a:cxn>
                      <a:cxn ang="0">
                        <a:pos x="185" y="126"/>
                      </a:cxn>
                      <a:cxn ang="0">
                        <a:pos x="200" y="135"/>
                      </a:cxn>
                      <a:cxn ang="0">
                        <a:pos x="191" y="150"/>
                      </a:cxn>
                      <a:cxn ang="0">
                        <a:pos x="16" y="194"/>
                      </a:cxn>
                      <a:cxn ang="0">
                        <a:pos x="13" y="195"/>
                      </a:cxn>
                      <a:cxn ang="0">
                        <a:pos x="13" y="131"/>
                      </a:cxn>
                      <a:cxn ang="0">
                        <a:pos x="1" y="122"/>
                      </a:cxn>
                      <a:cxn ang="0">
                        <a:pos x="10" y="107"/>
                      </a:cxn>
                      <a:cxn ang="0">
                        <a:pos x="185" y="62"/>
                      </a:cxn>
                      <a:cxn ang="0">
                        <a:pos x="200" y="71"/>
                      </a:cxn>
                      <a:cxn ang="0">
                        <a:pos x="191" y="86"/>
                      </a:cxn>
                      <a:cxn ang="0">
                        <a:pos x="16" y="130"/>
                      </a:cxn>
                      <a:cxn ang="0">
                        <a:pos x="13" y="131"/>
                      </a:cxn>
                      <a:cxn ang="0">
                        <a:pos x="13" y="71"/>
                      </a:cxn>
                      <a:cxn ang="0">
                        <a:pos x="1" y="61"/>
                      </a:cxn>
                      <a:cxn ang="0">
                        <a:pos x="10" y="46"/>
                      </a:cxn>
                      <a:cxn ang="0">
                        <a:pos x="185" y="2"/>
                      </a:cxn>
                      <a:cxn ang="0">
                        <a:pos x="200" y="11"/>
                      </a:cxn>
                      <a:cxn ang="0">
                        <a:pos x="191" y="26"/>
                      </a:cxn>
                      <a:cxn ang="0">
                        <a:pos x="16" y="70"/>
                      </a:cxn>
                      <a:cxn ang="0">
                        <a:pos x="13" y="71"/>
                      </a:cxn>
                    </a:cxnLst>
                    <a:rect l="0" t="0" r="r" b="b"/>
                    <a:pathLst>
                      <a:path w="201" h="195">
                        <a:moveTo>
                          <a:pt x="13" y="195"/>
                        </a:moveTo>
                        <a:cubicBezTo>
                          <a:pt x="8" y="195"/>
                          <a:pt x="3" y="191"/>
                          <a:pt x="1" y="185"/>
                        </a:cubicBezTo>
                        <a:cubicBezTo>
                          <a:pt x="0" y="179"/>
                          <a:pt x="4" y="172"/>
                          <a:pt x="10" y="170"/>
                        </a:cubicBezTo>
                        <a:cubicBezTo>
                          <a:pt x="185" y="126"/>
                          <a:pt x="185" y="126"/>
                          <a:pt x="185" y="126"/>
                        </a:cubicBezTo>
                        <a:cubicBezTo>
                          <a:pt x="191" y="124"/>
                          <a:pt x="198" y="128"/>
                          <a:pt x="200" y="135"/>
                        </a:cubicBezTo>
                        <a:cubicBezTo>
                          <a:pt x="201" y="142"/>
                          <a:pt x="197" y="148"/>
                          <a:pt x="191" y="150"/>
                        </a:cubicBezTo>
                        <a:cubicBezTo>
                          <a:pt x="16" y="194"/>
                          <a:pt x="16" y="194"/>
                          <a:pt x="16" y="194"/>
                        </a:cubicBezTo>
                        <a:cubicBezTo>
                          <a:pt x="15" y="195"/>
                          <a:pt x="14" y="195"/>
                          <a:pt x="13" y="195"/>
                        </a:cubicBezTo>
                        <a:close/>
                        <a:moveTo>
                          <a:pt x="13" y="131"/>
                        </a:moveTo>
                        <a:cubicBezTo>
                          <a:pt x="8" y="131"/>
                          <a:pt x="3" y="127"/>
                          <a:pt x="1" y="122"/>
                        </a:cubicBezTo>
                        <a:cubicBezTo>
                          <a:pt x="0" y="115"/>
                          <a:pt x="4" y="108"/>
                          <a:pt x="10" y="107"/>
                        </a:cubicBezTo>
                        <a:cubicBezTo>
                          <a:pt x="185" y="62"/>
                          <a:pt x="185" y="62"/>
                          <a:pt x="185" y="62"/>
                        </a:cubicBezTo>
                        <a:cubicBezTo>
                          <a:pt x="191" y="61"/>
                          <a:pt x="198" y="65"/>
                          <a:pt x="200" y="71"/>
                        </a:cubicBezTo>
                        <a:cubicBezTo>
                          <a:pt x="201" y="78"/>
                          <a:pt x="197" y="84"/>
                          <a:pt x="191" y="86"/>
                        </a:cubicBezTo>
                        <a:cubicBezTo>
                          <a:pt x="16" y="130"/>
                          <a:pt x="16" y="130"/>
                          <a:pt x="16" y="130"/>
                        </a:cubicBezTo>
                        <a:cubicBezTo>
                          <a:pt x="15" y="131"/>
                          <a:pt x="14" y="131"/>
                          <a:pt x="13" y="131"/>
                        </a:cubicBezTo>
                        <a:close/>
                        <a:moveTo>
                          <a:pt x="13" y="71"/>
                        </a:moveTo>
                        <a:cubicBezTo>
                          <a:pt x="8" y="71"/>
                          <a:pt x="3" y="67"/>
                          <a:pt x="1" y="61"/>
                        </a:cubicBezTo>
                        <a:cubicBezTo>
                          <a:pt x="0" y="55"/>
                          <a:pt x="4" y="48"/>
                          <a:pt x="10" y="46"/>
                        </a:cubicBezTo>
                        <a:cubicBezTo>
                          <a:pt x="185" y="2"/>
                          <a:pt x="185" y="2"/>
                          <a:pt x="185" y="2"/>
                        </a:cubicBezTo>
                        <a:cubicBezTo>
                          <a:pt x="191" y="0"/>
                          <a:pt x="198" y="4"/>
                          <a:pt x="200" y="11"/>
                        </a:cubicBezTo>
                        <a:cubicBezTo>
                          <a:pt x="201" y="18"/>
                          <a:pt x="197" y="24"/>
                          <a:pt x="191" y="26"/>
                        </a:cubicBezTo>
                        <a:cubicBezTo>
                          <a:pt x="16" y="70"/>
                          <a:pt x="16" y="70"/>
                          <a:pt x="16" y="70"/>
                        </a:cubicBezTo>
                        <a:cubicBezTo>
                          <a:pt x="15" y="71"/>
                          <a:pt x="14" y="71"/>
                          <a:pt x="13" y="7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45" name="Freeform 7"/>
                  <p:cNvSpPr>
                    <a:spLocks/>
                  </p:cNvSpPr>
                  <p:nvPr/>
                </p:nvSpPr>
                <p:spPr bwMode="auto">
                  <a:xfrm>
                    <a:off x="5835650" y="2478088"/>
                    <a:ext cx="115888" cy="52388"/>
                  </a:xfrm>
                  <a:custGeom>
                    <a:avLst/>
                    <a:gdLst/>
                    <a:ahLst/>
                    <a:cxnLst>
                      <a:cxn ang="0">
                        <a:pos x="14" y="46"/>
                      </a:cxn>
                      <a:cxn ang="0">
                        <a:pos x="2" y="36"/>
                      </a:cxn>
                      <a:cxn ang="0">
                        <a:pos x="11" y="21"/>
                      </a:cxn>
                      <a:cxn ang="0">
                        <a:pos x="86" y="2"/>
                      </a:cxn>
                      <a:cxn ang="0">
                        <a:pos x="101" y="11"/>
                      </a:cxn>
                      <a:cxn ang="0">
                        <a:pos x="92" y="26"/>
                      </a:cxn>
                      <a:cxn ang="0">
                        <a:pos x="17" y="45"/>
                      </a:cxn>
                      <a:cxn ang="0">
                        <a:pos x="14" y="46"/>
                      </a:cxn>
                    </a:cxnLst>
                    <a:rect l="0" t="0" r="r" b="b"/>
                    <a:pathLst>
                      <a:path w="103" h="46">
                        <a:moveTo>
                          <a:pt x="14" y="46"/>
                        </a:moveTo>
                        <a:cubicBezTo>
                          <a:pt x="8" y="46"/>
                          <a:pt x="3" y="42"/>
                          <a:pt x="2" y="36"/>
                        </a:cubicBezTo>
                        <a:cubicBezTo>
                          <a:pt x="0" y="30"/>
                          <a:pt x="4" y="23"/>
                          <a:pt x="11" y="21"/>
                        </a:cubicBezTo>
                        <a:cubicBezTo>
                          <a:pt x="86" y="2"/>
                          <a:pt x="86" y="2"/>
                          <a:pt x="86" y="2"/>
                        </a:cubicBezTo>
                        <a:cubicBezTo>
                          <a:pt x="93" y="0"/>
                          <a:pt x="99" y="4"/>
                          <a:pt x="101" y="11"/>
                        </a:cubicBezTo>
                        <a:cubicBezTo>
                          <a:pt x="103" y="18"/>
                          <a:pt x="99" y="24"/>
                          <a:pt x="92" y="26"/>
                        </a:cubicBezTo>
                        <a:cubicBezTo>
                          <a:pt x="17" y="45"/>
                          <a:pt x="17" y="45"/>
                          <a:pt x="17" y="45"/>
                        </a:cubicBezTo>
                        <a:cubicBezTo>
                          <a:pt x="16" y="45"/>
                          <a:pt x="15" y="46"/>
                          <a:pt x="14" y="46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solidFill>
                      <a:schemeClr val="accent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46" name="Freeform 8"/>
                  <p:cNvSpPr>
                    <a:spLocks noEditPoints="1"/>
                  </p:cNvSpPr>
                  <p:nvPr/>
                </p:nvSpPr>
                <p:spPr bwMode="auto">
                  <a:xfrm>
                    <a:off x="5645150" y="2436813"/>
                    <a:ext cx="979488" cy="492125"/>
                  </a:xfrm>
                  <a:custGeom>
                    <a:avLst/>
                    <a:gdLst/>
                    <a:ahLst/>
                    <a:cxnLst>
                      <a:cxn ang="0">
                        <a:pos x="317" y="437"/>
                      </a:cxn>
                      <a:cxn ang="0">
                        <a:pos x="308" y="434"/>
                      </a:cxn>
                      <a:cxn ang="0">
                        <a:pos x="304" y="424"/>
                      </a:cxn>
                      <a:cxn ang="0">
                        <a:pos x="322" y="245"/>
                      </a:cxn>
                      <a:cxn ang="0">
                        <a:pos x="148" y="290"/>
                      </a:cxn>
                      <a:cxn ang="0">
                        <a:pos x="135" y="285"/>
                      </a:cxn>
                      <a:cxn ang="0">
                        <a:pos x="3" y="102"/>
                      </a:cxn>
                      <a:cxn ang="0">
                        <a:pos x="1" y="91"/>
                      </a:cxn>
                      <a:cxn ang="0">
                        <a:pos x="9" y="83"/>
                      </a:cxn>
                      <a:cxn ang="0">
                        <a:pos x="84" y="60"/>
                      </a:cxn>
                      <a:cxn ang="0">
                        <a:pos x="96" y="62"/>
                      </a:cxn>
                      <a:cxn ang="0">
                        <a:pos x="181" y="138"/>
                      </a:cxn>
                      <a:cxn ang="0">
                        <a:pos x="186" y="138"/>
                      </a:cxn>
                      <a:cxn ang="0">
                        <a:pos x="706" y="5"/>
                      </a:cxn>
                      <a:cxn ang="0">
                        <a:pos x="787" y="3"/>
                      </a:cxn>
                      <a:cxn ang="0">
                        <a:pos x="858" y="37"/>
                      </a:cxn>
                      <a:cxn ang="0">
                        <a:pos x="740" y="138"/>
                      </a:cxn>
                      <a:cxn ang="0">
                        <a:pos x="600" y="174"/>
                      </a:cxn>
                      <a:cxn ang="0">
                        <a:pos x="409" y="411"/>
                      </a:cxn>
                      <a:cxn ang="0">
                        <a:pos x="404" y="414"/>
                      </a:cxn>
                      <a:cxn ang="0">
                        <a:pos x="362" y="425"/>
                      </a:cxn>
                      <a:cxn ang="0">
                        <a:pos x="320" y="437"/>
                      </a:cxn>
                      <a:cxn ang="0">
                        <a:pos x="317" y="437"/>
                      </a:cxn>
                      <a:cxn ang="0">
                        <a:pos x="348" y="238"/>
                      </a:cxn>
                      <a:cxn ang="0">
                        <a:pos x="331" y="408"/>
                      </a:cxn>
                      <a:cxn ang="0">
                        <a:pos x="356" y="401"/>
                      </a:cxn>
                      <a:cxn ang="0">
                        <a:pos x="394" y="391"/>
                      </a:cxn>
                      <a:cxn ang="0">
                        <a:pos x="582" y="157"/>
                      </a:cxn>
                      <a:cxn ang="0">
                        <a:pos x="589" y="151"/>
                      </a:cxn>
                      <a:cxn ang="0">
                        <a:pos x="734" y="114"/>
                      </a:cxn>
                      <a:cxn ang="0">
                        <a:pos x="834" y="43"/>
                      </a:cxn>
                      <a:cxn ang="0">
                        <a:pos x="785" y="27"/>
                      </a:cxn>
                      <a:cxn ang="0">
                        <a:pos x="712" y="29"/>
                      </a:cxn>
                      <a:cxn ang="0">
                        <a:pos x="191" y="162"/>
                      </a:cxn>
                      <a:cxn ang="0">
                        <a:pos x="188" y="162"/>
                      </a:cxn>
                      <a:cxn ang="0">
                        <a:pos x="176" y="162"/>
                      </a:cxn>
                      <a:cxn ang="0">
                        <a:pos x="168" y="159"/>
                      </a:cxn>
                      <a:cxn ang="0">
                        <a:pos x="85" y="85"/>
                      </a:cxn>
                      <a:cxn ang="0">
                        <a:pos x="33" y="102"/>
                      </a:cxn>
                      <a:cxn ang="0">
                        <a:pos x="150" y="264"/>
                      </a:cxn>
                      <a:cxn ang="0">
                        <a:pos x="333" y="216"/>
                      </a:cxn>
                      <a:cxn ang="0">
                        <a:pos x="333" y="216"/>
                      </a:cxn>
                      <a:cxn ang="0">
                        <a:pos x="483" y="178"/>
                      </a:cxn>
                      <a:cxn ang="0">
                        <a:pos x="498" y="187"/>
                      </a:cxn>
                      <a:cxn ang="0">
                        <a:pos x="489" y="202"/>
                      </a:cxn>
                      <a:cxn ang="0">
                        <a:pos x="348" y="238"/>
                      </a:cxn>
                    </a:cxnLst>
                    <a:rect l="0" t="0" r="r" b="b"/>
                    <a:pathLst>
                      <a:path w="869" h="437">
                        <a:moveTo>
                          <a:pt x="317" y="437"/>
                        </a:moveTo>
                        <a:cubicBezTo>
                          <a:pt x="314" y="437"/>
                          <a:pt x="311" y="436"/>
                          <a:pt x="308" y="434"/>
                        </a:cubicBezTo>
                        <a:cubicBezTo>
                          <a:pt x="305" y="432"/>
                          <a:pt x="304" y="428"/>
                          <a:pt x="304" y="424"/>
                        </a:cubicBezTo>
                        <a:cubicBezTo>
                          <a:pt x="322" y="245"/>
                          <a:pt x="322" y="245"/>
                          <a:pt x="322" y="245"/>
                        </a:cubicBezTo>
                        <a:cubicBezTo>
                          <a:pt x="148" y="290"/>
                          <a:pt x="148" y="290"/>
                          <a:pt x="148" y="290"/>
                        </a:cubicBezTo>
                        <a:cubicBezTo>
                          <a:pt x="143" y="291"/>
                          <a:pt x="138" y="290"/>
                          <a:pt x="135" y="285"/>
                        </a:cubicBezTo>
                        <a:cubicBezTo>
                          <a:pt x="3" y="102"/>
                          <a:pt x="3" y="102"/>
                          <a:pt x="3" y="102"/>
                        </a:cubicBezTo>
                        <a:cubicBezTo>
                          <a:pt x="0" y="99"/>
                          <a:pt x="0" y="95"/>
                          <a:pt x="1" y="91"/>
                        </a:cubicBezTo>
                        <a:cubicBezTo>
                          <a:pt x="2" y="87"/>
                          <a:pt x="5" y="85"/>
                          <a:pt x="9" y="83"/>
                        </a:cubicBezTo>
                        <a:cubicBezTo>
                          <a:pt x="84" y="60"/>
                          <a:pt x="84" y="60"/>
                          <a:pt x="84" y="60"/>
                        </a:cubicBezTo>
                        <a:cubicBezTo>
                          <a:pt x="88" y="58"/>
                          <a:pt x="93" y="59"/>
                          <a:pt x="96" y="62"/>
                        </a:cubicBezTo>
                        <a:cubicBezTo>
                          <a:pt x="181" y="138"/>
                          <a:pt x="181" y="138"/>
                          <a:pt x="181" y="138"/>
                        </a:cubicBezTo>
                        <a:cubicBezTo>
                          <a:pt x="186" y="138"/>
                          <a:pt x="186" y="138"/>
                          <a:pt x="186" y="138"/>
                        </a:cubicBezTo>
                        <a:cubicBezTo>
                          <a:pt x="706" y="5"/>
                          <a:pt x="706" y="5"/>
                          <a:pt x="706" y="5"/>
                        </a:cubicBezTo>
                        <a:cubicBezTo>
                          <a:pt x="724" y="1"/>
                          <a:pt x="758" y="0"/>
                          <a:pt x="787" y="3"/>
                        </a:cubicBezTo>
                        <a:cubicBezTo>
                          <a:pt x="830" y="7"/>
                          <a:pt x="853" y="19"/>
                          <a:pt x="858" y="37"/>
                        </a:cubicBezTo>
                        <a:cubicBezTo>
                          <a:pt x="869" y="80"/>
                          <a:pt x="769" y="131"/>
                          <a:pt x="740" y="138"/>
                        </a:cubicBezTo>
                        <a:cubicBezTo>
                          <a:pt x="600" y="174"/>
                          <a:pt x="600" y="174"/>
                          <a:pt x="600" y="174"/>
                        </a:cubicBezTo>
                        <a:cubicBezTo>
                          <a:pt x="549" y="257"/>
                          <a:pt x="491" y="330"/>
                          <a:pt x="409" y="411"/>
                        </a:cubicBezTo>
                        <a:cubicBezTo>
                          <a:pt x="408" y="412"/>
                          <a:pt x="406" y="413"/>
                          <a:pt x="404" y="414"/>
                        </a:cubicBezTo>
                        <a:cubicBezTo>
                          <a:pt x="385" y="419"/>
                          <a:pt x="374" y="422"/>
                          <a:pt x="362" y="425"/>
                        </a:cubicBezTo>
                        <a:cubicBezTo>
                          <a:pt x="350" y="429"/>
                          <a:pt x="339" y="432"/>
                          <a:pt x="320" y="437"/>
                        </a:cubicBezTo>
                        <a:cubicBezTo>
                          <a:pt x="319" y="437"/>
                          <a:pt x="318" y="437"/>
                          <a:pt x="317" y="437"/>
                        </a:cubicBezTo>
                        <a:close/>
                        <a:moveTo>
                          <a:pt x="348" y="238"/>
                        </a:moveTo>
                        <a:cubicBezTo>
                          <a:pt x="331" y="408"/>
                          <a:pt x="331" y="408"/>
                          <a:pt x="331" y="408"/>
                        </a:cubicBezTo>
                        <a:cubicBezTo>
                          <a:pt x="340" y="406"/>
                          <a:pt x="348" y="404"/>
                          <a:pt x="356" y="401"/>
                        </a:cubicBezTo>
                        <a:cubicBezTo>
                          <a:pt x="366" y="399"/>
                          <a:pt x="377" y="396"/>
                          <a:pt x="394" y="391"/>
                        </a:cubicBezTo>
                        <a:cubicBezTo>
                          <a:pt x="474" y="311"/>
                          <a:pt x="532" y="239"/>
                          <a:pt x="582" y="157"/>
                        </a:cubicBezTo>
                        <a:cubicBezTo>
                          <a:pt x="583" y="154"/>
                          <a:pt x="586" y="152"/>
                          <a:pt x="589" y="151"/>
                        </a:cubicBezTo>
                        <a:cubicBezTo>
                          <a:pt x="734" y="114"/>
                          <a:pt x="734" y="114"/>
                          <a:pt x="734" y="114"/>
                        </a:cubicBezTo>
                        <a:cubicBezTo>
                          <a:pt x="769" y="105"/>
                          <a:pt x="838" y="59"/>
                          <a:pt x="834" y="43"/>
                        </a:cubicBezTo>
                        <a:cubicBezTo>
                          <a:pt x="833" y="40"/>
                          <a:pt x="823" y="31"/>
                          <a:pt x="785" y="27"/>
                        </a:cubicBezTo>
                        <a:cubicBezTo>
                          <a:pt x="756" y="24"/>
                          <a:pt x="726" y="26"/>
                          <a:pt x="712" y="29"/>
                        </a:cubicBezTo>
                        <a:cubicBezTo>
                          <a:pt x="191" y="162"/>
                          <a:pt x="191" y="162"/>
                          <a:pt x="191" y="162"/>
                        </a:cubicBezTo>
                        <a:cubicBezTo>
                          <a:pt x="190" y="162"/>
                          <a:pt x="189" y="162"/>
                          <a:pt x="188" y="162"/>
                        </a:cubicBezTo>
                        <a:cubicBezTo>
                          <a:pt x="176" y="162"/>
                          <a:pt x="176" y="162"/>
                          <a:pt x="176" y="162"/>
                        </a:cubicBezTo>
                        <a:cubicBezTo>
                          <a:pt x="173" y="162"/>
                          <a:pt x="170" y="161"/>
                          <a:pt x="168" y="159"/>
                        </a:cubicBezTo>
                        <a:cubicBezTo>
                          <a:pt x="85" y="85"/>
                          <a:pt x="85" y="85"/>
                          <a:pt x="85" y="85"/>
                        </a:cubicBezTo>
                        <a:cubicBezTo>
                          <a:pt x="33" y="102"/>
                          <a:pt x="33" y="102"/>
                          <a:pt x="33" y="102"/>
                        </a:cubicBezTo>
                        <a:cubicBezTo>
                          <a:pt x="150" y="264"/>
                          <a:pt x="150" y="264"/>
                          <a:pt x="150" y="264"/>
                        </a:cubicBezTo>
                        <a:cubicBezTo>
                          <a:pt x="333" y="216"/>
                          <a:pt x="333" y="216"/>
                          <a:pt x="333" y="216"/>
                        </a:cubicBezTo>
                        <a:cubicBezTo>
                          <a:pt x="333" y="216"/>
                          <a:pt x="333" y="216"/>
                          <a:pt x="333" y="216"/>
                        </a:cubicBezTo>
                        <a:cubicBezTo>
                          <a:pt x="483" y="178"/>
                          <a:pt x="483" y="178"/>
                          <a:pt x="483" y="178"/>
                        </a:cubicBezTo>
                        <a:cubicBezTo>
                          <a:pt x="489" y="176"/>
                          <a:pt x="496" y="180"/>
                          <a:pt x="498" y="187"/>
                        </a:cubicBezTo>
                        <a:cubicBezTo>
                          <a:pt x="500" y="194"/>
                          <a:pt x="496" y="200"/>
                          <a:pt x="489" y="202"/>
                        </a:cubicBezTo>
                        <a:lnTo>
                          <a:pt x="348" y="238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47" name="Freeform 9"/>
                  <p:cNvSpPr>
                    <a:spLocks noEditPoints="1"/>
                  </p:cNvSpPr>
                  <p:nvPr/>
                </p:nvSpPr>
                <p:spPr bwMode="auto">
                  <a:xfrm>
                    <a:off x="5957888" y="2416175"/>
                    <a:ext cx="350838" cy="161925"/>
                  </a:xfrm>
                  <a:custGeom>
                    <a:avLst/>
                    <a:gdLst/>
                    <a:ahLst/>
                    <a:cxnLst>
                      <a:cxn ang="0">
                        <a:pos x="59" y="143"/>
                      </a:cxn>
                      <a:cxn ang="0">
                        <a:pos x="48" y="136"/>
                      </a:cxn>
                      <a:cxn ang="0">
                        <a:pos x="38" y="115"/>
                      </a:cxn>
                      <a:cxn ang="0">
                        <a:pos x="1" y="44"/>
                      </a:cxn>
                      <a:cxn ang="0">
                        <a:pos x="1" y="33"/>
                      </a:cxn>
                      <a:cxn ang="0">
                        <a:pos x="9" y="26"/>
                      </a:cxn>
                      <a:cxn ang="0">
                        <a:pos x="105" y="1"/>
                      </a:cxn>
                      <a:cxn ang="0">
                        <a:pos x="111" y="1"/>
                      </a:cxn>
                      <a:cxn ang="0">
                        <a:pos x="303" y="57"/>
                      </a:cxn>
                      <a:cxn ang="0">
                        <a:pos x="312" y="69"/>
                      </a:cxn>
                      <a:cxn ang="0">
                        <a:pos x="303" y="81"/>
                      </a:cxn>
                      <a:cxn ang="0">
                        <a:pos x="62" y="142"/>
                      </a:cxn>
                      <a:cxn ang="0">
                        <a:pos x="59" y="143"/>
                      </a:cxn>
                      <a:cxn ang="0">
                        <a:pos x="30" y="46"/>
                      </a:cxn>
                      <a:cxn ang="0">
                        <a:pos x="66" y="116"/>
                      </a:cxn>
                      <a:cxn ang="0">
                        <a:pos x="253" y="68"/>
                      </a:cxn>
                      <a:cxn ang="0">
                        <a:pos x="108" y="25"/>
                      </a:cxn>
                      <a:cxn ang="0">
                        <a:pos x="30" y="46"/>
                      </a:cxn>
                    </a:cxnLst>
                    <a:rect l="0" t="0" r="r" b="b"/>
                    <a:pathLst>
                      <a:path w="312" h="143">
                        <a:moveTo>
                          <a:pt x="59" y="143"/>
                        </a:moveTo>
                        <a:cubicBezTo>
                          <a:pt x="55" y="143"/>
                          <a:pt x="50" y="140"/>
                          <a:pt x="48" y="136"/>
                        </a:cubicBezTo>
                        <a:cubicBezTo>
                          <a:pt x="38" y="115"/>
                          <a:pt x="38" y="115"/>
                          <a:pt x="38" y="115"/>
                        </a:cubicBezTo>
                        <a:cubicBezTo>
                          <a:pt x="1" y="44"/>
                          <a:pt x="1" y="44"/>
                          <a:pt x="1" y="44"/>
                        </a:cubicBezTo>
                        <a:cubicBezTo>
                          <a:pt x="0" y="41"/>
                          <a:pt x="0" y="37"/>
                          <a:pt x="1" y="33"/>
                        </a:cubicBezTo>
                        <a:cubicBezTo>
                          <a:pt x="3" y="30"/>
                          <a:pt x="6" y="27"/>
                          <a:pt x="9" y="26"/>
                        </a:cubicBezTo>
                        <a:cubicBezTo>
                          <a:pt x="105" y="1"/>
                          <a:pt x="105" y="1"/>
                          <a:pt x="105" y="1"/>
                        </a:cubicBezTo>
                        <a:cubicBezTo>
                          <a:pt x="107" y="0"/>
                          <a:pt x="109" y="0"/>
                          <a:pt x="111" y="1"/>
                        </a:cubicBezTo>
                        <a:cubicBezTo>
                          <a:pt x="303" y="57"/>
                          <a:pt x="303" y="57"/>
                          <a:pt x="303" y="57"/>
                        </a:cubicBezTo>
                        <a:cubicBezTo>
                          <a:pt x="309" y="59"/>
                          <a:pt x="312" y="64"/>
                          <a:pt x="312" y="69"/>
                        </a:cubicBezTo>
                        <a:cubicBezTo>
                          <a:pt x="312" y="75"/>
                          <a:pt x="308" y="80"/>
                          <a:pt x="303" y="81"/>
                        </a:cubicBezTo>
                        <a:cubicBezTo>
                          <a:pt x="62" y="142"/>
                          <a:pt x="62" y="142"/>
                          <a:pt x="62" y="142"/>
                        </a:cubicBezTo>
                        <a:cubicBezTo>
                          <a:pt x="61" y="142"/>
                          <a:pt x="60" y="143"/>
                          <a:pt x="59" y="143"/>
                        </a:cubicBezTo>
                        <a:close/>
                        <a:moveTo>
                          <a:pt x="30" y="46"/>
                        </a:moveTo>
                        <a:cubicBezTo>
                          <a:pt x="66" y="116"/>
                          <a:pt x="66" y="116"/>
                          <a:pt x="66" y="116"/>
                        </a:cubicBezTo>
                        <a:cubicBezTo>
                          <a:pt x="253" y="68"/>
                          <a:pt x="253" y="68"/>
                          <a:pt x="253" y="68"/>
                        </a:cubicBezTo>
                        <a:cubicBezTo>
                          <a:pt x="108" y="25"/>
                          <a:pt x="108" y="25"/>
                          <a:pt x="108" y="25"/>
                        </a:cubicBezTo>
                        <a:lnTo>
                          <a:pt x="30" y="46"/>
                        </a:lnTo>
                        <a:close/>
                      </a:path>
                    </a:pathLst>
                  </a:custGeom>
                  <a:solidFill>
                    <a:srgbClr val="5F606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30" name="Group 251"/>
                <p:cNvGrpSpPr/>
                <p:nvPr/>
              </p:nvGrpSpPr>
              <p:grpSpPr>
                <a:xfrm>
                  <a:off x="2751438" y="3362083"/>
                  <a:ext cx="309994" cy="477990"/>
                  <a:chOff x="4843516" y="3491851"/>
                  <a:chExt cx="488505" cy="725488"/>
                </a:xfrm>
              </p:grpSpPr>
              <p:cxnSp>
                <p:nvCxnSpPr>
                  <p:cNvPr id="31" name="Straight Connector 30"/>
                  <p:cNvCxnSpPr/>
                  <p:nvPr/>
                </p:nvCxnSpPr>
                <p:spPr>
                  <a:xfrm flipV="1">
                    <a:off x="5004654" y="3933825"/>
                    <a:ext cx="100746" cy="130256"/>
                  </a:xfrm>
                  <a:prstGeom prst="line">
                    <a:avLst/>
                  </a:prstGeom>
                  <a:ln w="38100" cmpd="sng">
                    <a:solidFill>
                      <a:schemeClr val="accent3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32" name="Group 253"/>
                  <p:cNvGrpSpPr>
                    <a:grpSpLocks noChangeAspect="1"/>
                  </p:cNvGrpSpPr>
                  <p:nvPr/>
                </p:nvGrpSpPr>
                <p:grpSpPr>
                  <a:xfrm>
                    <a:off x="4843516" y="3491851"/>
                    <a:ext cx="452438" cy="725488"/>
                    <a:chOff x="1187450" y="2781300"/>
                    <a:chExt cx="452438" cy="725488"/>
                  </a:xfrm>
                </p:grpSpPr>
                <p:sp>
                  <p:nvSpPr>
                    <p:cNvPr id="35" name="AutoShape 6"/>
                    <p:cNvSpPr>
                      <a:spLocks noChangeAspect="1" noChangeArrowheads="1" noTextEdit="1"/>
                    </p:cNvSpPr>
                    <p:nvPr/>
                  </p:nvSpPr>
                  <p:spPr bwMode="auto">
                    <a:xfrm>
                      <a:off x="1187450" y="2781300"/>
                      <a:ext cx="452438" cy="72548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36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187450" y="2781300"/>
                      <a:ext cx="452438" cy="725488"/>
                    </a:xfrm>
                    <a:custGeom>
                      <a:avLst/>
                      <a:gdLst>
                        <a:gd name="T0" fmla="*/ 252 w 322"/>
                        <a:gd name="T1" fmla="*/ 518 h 518"/>
                        <a:gd name="T2" fmla="*/ 70 w 322"/>
                        <a:gd name="T3" fmla="*/ 518 h 518"/>
                        <a:gd name="T4" fmla="*/ 0 w 322"/>
                        <a:gd name="T5" fmla="*/ 448 h 518"/>
                        <a:gd name="T6" fmla="*/ 0 w 322"/>
                        <a:gd name="T7" fmla="*/ 70 h 518"/>
                        <a:gd name="T8" fmla="*/ 70 w 322"/>
                        <a:gd name="T9" fmla="*/ 0 h 518"/>
                        <a:gd name="T10" fmla="*/ 252 w 322"/>
                        <a:gd name="T11" fmla="*/ 0 h 518"/>
                        <a:gd name="T12" fmla="*/ 322 w 322"/>
                        <a:gd name="T13" fmla="*/ 70 h 518"/>
                        <a:gd name="T14" fmla="*/ 322 w 322"/>
                        <a:gd name="T15" fmla="*/ 448 h 518"/>
                        <a:gd name="T16" fmla="*/ 252 w 322"/>
                        <a:gd name="T17" fmla="*/ 518 h 518"/>
                        <a:gd name="T18" fmla="*/ 70 w 322"/>
                        <a:gd name="T19" fmla="*/ 22 h 518"/>
                        <a:gd name="T20" fmla="*/ 22 w 322"/>
                        <a:gd name="T21" fmla="*/ 70 h 518"/>
                        <a:gd name="T22" fmla="*/ 22 w 322"/>
                        <a:gd name="T23" fmla="*/ 448 h 518"/>
                        <a:gd name="T24" fmla="*/ 70 w 322"/>
                        <a:gd name="T25" fmla="*/ 496 h 518"/>
                        <a:gd name="T26" fmla="*/ 252 w 322"/>
                        <a:gd name="T27" fmla="*/ 496 h 518"/>
                        <a:gd name="T28" fmla="*/ 300 w 322"/>
                        <a:gd name="T29" fmla="*/ 448 h 518"/>
                        <a:gd name="T30" fmla="*/ 300 w 322"/>
                        <a:gd name="T31" fmla="*/ 70 h 518"/>
                        <a:gd name="T32" fmla="*/ 252 w 322"/>
                        <a:gd name="T33" fmla="*/ 22 h 518"/>
                        <a:gd name="T34" fmla="*/ 70 w 322"/>
                        <a:gd name="T35" fmla="*/ 22 h 5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322" h="518">
                          <a:moveTo>
                            <a:pt x="252" y="518"/>
                          </a:moveTo>
                          <a:cubicBezTo>
                            <a:pt x="70" y="518"/>
                            <a:pt x="70" y="518"/>
                            <a:pt x="70" y="518"/>
                          </a:cubicBezTo>
                          <a:cubicBezTo>
                            <a:pt x="31" y="518"/>
                            <a:pt x="0" y="487"/>
                            <a:pt x="0" y="448"/>
                          </a:cubicBezTo>
                          <a:cubicBezTo>
                            <a:pt x="0" y="70"/>
                            <a:pt x="0" y="70"/>
                            <a:pt x="0" y="70"/>
                          </a:cubicBezTo>
                          <a:cubicBezTo>
                            <a:pt x="0" y="31"/>
                            <a:pt x="31" y="0"/>
                            <a:pt x="70" y="0"/>
                          </a:cubicBezTo>
                          <a:cubicBezTo>
                            <a:pt x="252" y="0"/>
                            <a:pt x="252" y="0"/>
                            <a:pt x="252" y="0"/>
                          </a:cubicBezTo>
                          <a:cubicBezTo>
                            <a:pt x="290" y="0"/>
                            <a:pt x="322" y="31"/>
                            <a:pt x="322" y="70"/>
                          </a:cubicBezTo>
                          <a:cubicBezTo>
                            <a:pt x="322" y="448"/>
                            <a:pt x="322" y="448"/>
                            <a:pt x="322" y="448"/>
                          </a:cubicBezTo>
                          <a:cubicBezTo>
                            <a:pt x="322" y="487"/>
                            <a:pt x="290" y="518"/>
                            <a:pt x="252" y="518"/>
                          </a:cubicBezTo>
                          <a:close/>
                          <a:moveTo>
                            <a:pt x="70" y="22"/>
                          </a:moveTo>
                          <a:cubicBezTo>
                            <a:pt x="43" y="22"/>
                            <a:pt x="22" y="43"/>
                            <a:pt x="22" y="70"/>
                          </a:cubicBezTo>
                          <a:cubicBezTo>
                            <a:pt x="22" y="448"/>
                            <a:pt x="22" y="448"/>
                            <a:pt x="22" y="448"/>
                          </a:cubicBezTo>
                          <a:cubicBezTo>
                            <a:pt x="22" y="475"/>
                            <a:pt x="43" y="496"/>
                            <a:pt x="70" y="496"/>
                          </a:cubicBezTo>
                          <a:cubicBezTo>
                            <a:pt x="252" y="496"/>
                            <a:pt x="252" y="496"/>
                            <a:pt x="252" y="496"/>
                          </a:cubicBezTo>
                          <a:cubicBezTo>
                            <a:pt x="278" y="496"/>
                            <a:pt x="300" y="475"/>
                            <a:pt x="300" y="448"/>
                          </a:cubicBezTo>
                          <a:cubicBezTo>
                            <a:pt x="300" y="70"/>
                            <a:pt x="300" y="70"/>
                            <a:pt x="300" y="70"/>
                          </a:cubicBezTo>
                          <a:cubicBezTo>
                            <a:pt x="300" y="43"/>
                            <a:pt x="278" y="22"/>
                            <a:pt x="252" y="22"/>
                          </a:cubicBezTo>
                          <a:lnTo>
                            <a:pt x="70" y="22"/>
                          </a:ln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37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1339850" y="2854325"/>
                      <a:ext cx="147638" cy="30163"/>
                    </a:xfrm>
                    <a:custGeom>
                      <a:avLst/>
                      <a:gdLst>
                        <a:gd name="T0" fmla="*/ 95 w 106"/>
                        <a:gd name="T1" fmla="*/ 22 h 22"/>
                        <a:gd name="T2" fmla="*/ 10 w 106"/>
                        <a:gd name="T3" fmla="*/ 22 h 22"/>
                        <a:gd name="T4" fmla="*/ 0 w 106"/>
                        <a:gd name="T5" fmla="*/ 11 h 22"/>
                        <a:gd name="T6" fmla="*/ 10 w 106"/>
                        <a:gd name="T7" fmla="*/ 0 h 22"/>
                        <a:gd name="T8" fmla="*/ 95 w 106"/>
                        <a:gd name="T9" fmla="*/ 0 h 22"/>
                        <a:gd name="T10" fmla="*/ 106 w 106"/>
                        <a:gd name="T11" fmla="*/ 11 h 22"/>
                        <a:gd name="T12" fmla="*/ 95 w 10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06" h="22">
                          <a:moveTo>
                            <a:pt x="95" y="22"/>
                          </a:moveTo>
                          <a:cubicBezTo>
                            <a:pt x="10" y="22"/>
                            <a:pt x="10" y="22"/>
                            <a:pt x="10" y="22"/>
                          </a:cubicBezTo>
                          <a:cubicBezTo>
                            <a:pt x="4" y="22"/>
                            <a:pt x="0" y="17"/>
                            <a:pt x="0" y="11"/>
                          </a:cubicBezTo>
                          <a:cubicBezTo>
                            <a:pt x="0" y="5"/>
                            <a:pt x="4" y="0"/>
                            <a:pt x="10" y="0"/>
                          </a:cubicBezTo>
                          <a:cubicBezTo>
                            <a:pt x="95" y="0"/>
                            <a:pt x="95" y="0"/>
                            <a:pt x="95" y="0"/>
                          </a:cubicBezTo>
                          <a:cubicBezTo>
                            <a:pt x="101" y="0"/>
                            <a:pt x="106" y="5"/>
                            <a:pt x="106" y="11"/>
                          </a:cubicBezTo>
                          <a:cubicBezTo>
                            <a:pt x="106" y="17"/>
                            <a:pt x="101" y="22"/>
                            <a:pt x="9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38" name="Oval 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285875" y="2855913"/>
                      <a:ext cx="25400" cy="26988"/>
                    </a:xfrm>
                    <a:prstGeom prst="ellipse">
                      <a:avLst/>
                    </a:pr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39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241425" y="3394075"/>
                      <a:ext cx="106363" cy="31750"/>
                    </a:xfrm>
                    <a:custGeom>
                      <a:avLst/>
                      <a:gdLst>
                        <a:gd name="T0" fmla="*/ 65 w 76"/>
                        <a:gd name="T1" fmla="*/ 22 h 22"/>
                        <a:gd name="T2" fmla="*/ 11 w 76"/>
                        <a:gd name="T3" fmla="*/ 22 h 22"/>
                        <a:gd name="T4" fmla="*/ 0 w 76"/>
                        <a:gd name="T5" fmla="*/ 11 h 22"/>
                        <a:gd name="T6" fmla="*/ 11 w 76"/>
                        <a:gd name="T7" fmla="*/ 0 h 22"/>
                        <a:gd name="T8" fmla="*/ 65 w 76"/>
                        <a:gd name="T9" fmla="*/ 0 h 22"/>
                        <a:gd name="T10" fmla="*/ 76 w 76"/>
                        <a:gd name="T11" fmla="*/ 11 h 22"/>
                        <a:gd name="T12" fmla="*/ 65 w 7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6" h="22">
                          <a:moveTo>
                            <a:pt x="65" y="22"/>
                          </a:moveTo>
                          <a:cubicBezTo>
                            <a:pt x="11" y="22"/>
                            <a:pt x="11" y="22"/>
                            <a:pt x="11" y="22"/>
                          </a:cubicBezTo>
                          <a:cubicBezTo>
                            <a:pt x="5" y="22"/>
                            <a:pt x="0" y="17"/>
                            <a:pt x="0" y="11"/>
                          </a:cubicBezTo>
                          <a:cubicBezTo>
                            <a:pt x="0" y="5"/>
                            <a:pt x="5" y="0"/>
                            <a:pt x="11" y="0"/>
                          </a:cubicBezTo>
                          <a:cubicBezTo>
                            <a:pt x="65" y="0"/>
                            <a:pt x="65" y="0"/>
                            <a:pt x="65" y="0"/>
                          </a:cubicBezTo>
                          <a:cubicBezTo>
                            <a:pt x="71" y="0"/>
                            <a:pt x="76" y="5"/>
                            <a:pt x="76" y="11"/>
                          </a:cubicBezTo>
                          <a:cubicBezTo>
                            <a:pt x="76" y="17"/>
                            <a:pt x="71" y="22"/>
                            <a:pt x="6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40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1360488" y="3394075"/>
                      <a:ext cx="104775" cy="31750"/>
                    </a:xfrm>
                    <a:custGeom>
                      <a:avLst/>
                      <a:gdLst>
                        <a:gd name="T0" fmla="*/ 64 w 75"/>
                        <a:gd name="T1" fmla="*/ 22 h 22"/>
                        <a:gd name="T2" fmla="*/ 10 w 75"/>
                        <a:gd name="T3" fmla="*/ 22 h 22"/>
                        <a:gd name="T4" fmla="*/ 0 w 75"/>
                        <a:gd name="T5" fmla="*/ 11 h 22"/>
                        <a:gd name="T6" fmla="*/ 10 w 75"/>
                        <a:gd name="T7" fmla="*/ 0 h 22"/>
                        <a:gd name="T8" fmla="*/ 64 w 75"/>
                        <a:gd name="T9" fmla="*/ 0 h 22"/>
                        <a:gd name="T10" fmla="*/ 75 w 75"/>
                        <a:gd name="T11" fmla="*/ 11 h 22"/>
                        <a:gd name="T12" fmla="*/ 64 w 75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5" h="22">
                          <a:moveTo>
                            <a:pt x="64" y="22"/>
                          </a:moveTo>
                          <a:cubicBezTo>
                            <a:pt x="10" y="22"/>
                            <a:pt x="10" y="22"/>
                            <a:pt x="10" y="22"/>
                          </a:cubicBezTo>
                          <a:cubicBezTo>
                            <a:pt x="4" y="22"/>
                            <a:pt x="0" y="17"/>
                            <a:pt x="0" y="11"/>
                          </a:cubicBezTo>
                          <a:cubicBezTo>
                            <a:pt x="0" y="5"/>
                            <a:pt x="4" y="0"/>
                            <a:pt x="10" y="0"/>
                          </a:cubicBezTo>
                          <a:cubicBezTo>
                            <a:pt x="64" y="0"/>
                            <a:pt x="64" y="0"/>
                            <a:pt x="64" y="0"/>
                          </a:cubicBezTo>
                          <a:cubicBezTo>
                            <a:pt x="70" y="0"/>
                            <a:pt x="75" y="5"/>
                            <a:pt x="75" y="11"/>
                          </a:cubicBezTo>
                          <a:cubicBezTo>
                            <a:pt x="75" y="17"/>
                            <a:pt x="70" y="22"/>
                            <a:pt x="64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41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1477963" y="3394075"/>
                      <a:ext cx="106363" cy="31750"/>
                    </a:xfrm>
                    <a:custGeom>
                      <a:avLst/>
                      <a:gdLst>
                        <a:gd name="T0" fmla="*/ 65 w 76"/>
                        <a:gd name="T1" fmla="*/ 22 h 22"/>
                        <a:gd name="T2" fmla="*/ 11 w 76"/>
                        <a:gd name="T3" fmla="*/ 22 h 22"/>
                        <a:gd name="T4" fmla="*/ 0 w 76"/>
                        <a:gd name="T5" fmla="*/ 11 h 22"/>
                        <a:gd name="T6" fmla="*/ 11 w 76"/>
                        <a:gd name="T7" fmla="*/ 0 h 22"/>
                        <a:gd name="T8" fmla="*/ 65 w 76"/>
                        <a:gd name="T9" fmla="*/ 0 h 22"/>
                        <a:gd name="T10" fmla="*/ 76 w 76"/>
                        <a:gd name="T11" fmla="*/ 11 h 22"/>
                        <a:gd name="T12" fmla="*/ 65 w 76"/>
                        <a:gd name="T13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6" h="22">
                          <a:moveTo>
                            <a:pt x="65" y="22"/>
                          </a:moveTo>
                          <a:cubicBezTo>
                            <a:pt x="11" y="22"/>
                            <a:pt x="11" y="22"/>
                            <a:pt x="11" y="22"/>
                          </a:cubicBezTo>
                          <a:cubicBezTo>
                            <a:pt x="5" y="22"/>
                            <a:pt x="0" y="17"/>
                            <a:pt x="0" y="11"/>
                          </a:cubicBezTo>
                          <a:cubicBezTo>
                            <a:pt x="0" y="5"/>
                            <a:pt x="5" y="0"/>
                            <a:pt x="11" y="0"/>
                          </a:cubicBezTo>
                          <a:cubicBezTo>
                            <a:pt x="65" y="0"/>
                            <a:pt x="65" y="0"/>
                            <a:pt x="65" y="0"/>
                          </a:cubicBezTo>
                          <a:cubicBezTo>
                            <a:pt x="71" y="0"/>
                            <a:pt x="76" y="5"/>
                            <a:pt x="76" y="11"/>
                          </a:cubicBezTo>
                          <a:cubicBezTo>
                            <a:pt x="76" y="17"/>
                            <a:pt x="71" y="22"/>
                            <a:pt x="65" y="22"/>
                          </a:cubicBez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  <p:sp>
                  <p:nvSpPr>
                    <p:cNvPr id="42" name="Freeform 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43013" y="2921000"/>
                      <a:ext cx="341313" cy="442913"/>
                    </a:xfrm>
                    <a:custGeom>
                      <a:avLst/>
                      <a:gdLst>
                        <a:gd name="T0" fmla="*/ 233 w 244"/>
                        <a:gd name="T1" fmla="*/ 316 h 316"/>
                        <a:gd name="T2" fmla="*/ 11 w 244"/>
                        <a:gd name="T3" fmla="*/ 316 h 316"/>
                        <a:gd name="T4" fmla="*/ 0 w 244"/>
                        <a:gd name="T5" fmla="*/ 306 h 316"/>
                        <a:gd name="T6" fmla="*/ 0 w 244"/>
                        <a:gd name="T7" fmla="*/ 11 h 316"/>
                        <a:gd name="T8" fmla="*/ 11 w 244"/>
                        <a:gd name="T9" fmla="*/ 0 h 316"/>
                        <a:gd name="T10" fmla="*/ 233 w 244"/>
                        <a:gd name="T11" fmla="*/ 0 h 316"/>
                        <a:gd name="T12" fmla="*/ 244 w 244"/>
                        <a:gd name="T13" fmla="*/ 11 h 316"/>
                        <a:gd name="T14" fmla="*/ 244 w 244"/>
                        <a:gd name="T15" fmla="*/ 306 h 316"/>
                        <a:gd name="T16" fmla="*/ 233 w 244"/>
                        <a:gd name="T17" fmla="*/ 316 h 316"/>
                        <a:gd name="T18" fmla="*/ 21 w 244"/>
                        <a:gd name="T19" fmla="*/ 295 h 316"/>
                        <a:gd name="T20" fmla="*/ 222 w 244"/>
                        <a:gd name="T21" fmla="*/ 295 h 316"/>
                        <a:gd name="T22" fmla="*/ 222 w 244"/>
                        <a:gd name="T23" fmla="*/ 21 h 316"/>
                        <a:gd name="T24" fmla="*/ 21 w 244"/>
                        <a:gd name="T25" fmla="*/ 21 h 316"/>
                        <a:gd name="T26" fmla="*/ 21 w 244"/>
                        <a:gd name="T27" fmla="*/ 295 h 3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44" h="316">
                          <a:moveTo>
                            <a:pt x="233" y="316"/>
                          </a:moveTo>
                          <a:cubicBezTo>
                            <a:pt x="11" y="316"/>
                            <a:pt x="11" y="316"/>
                            <a:pt x="11" y="316"/>
                          </a:cubicBezTo>
                          <a:cubicBezTo>
                            <a:pt x="5" y="316"/>
                            <a:pt x="0" y="312"/>
                            <a:pt x="0" y="306"/>
                          </a:cubicBezTo>
                          <a:cubicBezTo>
                            <a:pt x="0" y="11"/>
                            <a:pt x="0" y="11"/>
                            <a:pt x="0" y="11"/>
                          </a:cubicBezTo>
                          <a:cubicBezTo>
                            <a:pt x="0" y="4"/>
                            <a:pt x="5" y="0"/>
                            <a:pt x="11" y="0"/>
                          </a:cubicBezTo>
                          <a:cubicBezTo>
                            <a:pt x="233" y="0"/>
                            <a:pt x="233" y="0"/>
                            <a:pt x="233" y="0"/>
                          </a:cubicBezTo>
                          <a:cubicBezTo>
                            <a:pt x="239" y="0"/>
                            <a:pt x="244" y="4"/>
                            <a:pt x="244" y="11"/>
                          </a:cubicBezTo>
                          <a:cubicBezTo>
                            <a:pt x="244" y="306"/>
                            <a:pt x="244" y="306"/>
                            <a:pt x="244" y="306"/>
                          </a:cubicBezTo>
                          <a:cubicBezTo>
                            <a:pt x="244" y="312"/>
                            <a:pt x="239" y="316"/>
                            <a:pt x="233" y="316"/>
                          </a:cubicBezTo>
                          <a:close/>
                          <a:moveTo>
                            <a:pt x="21" y="295"/>
                          </a:moveTo>
                          <a:cubicBezTo>
                            <a:pt x="222" y="295"/>
                            <a:pt x="222" y="295"/>
                            <a:pt x="222" y="295"/>
                          </a:cubicBezTo>
                          <a:cubicBezTo>
                            <a:pt x="222" y="21"/>
                            <a:pt x="222" y="21"/>
                            <a:pt x="222" y="21"/>
                          </a:cubicBezTo>
                          <a:cubicBezTo>
                            <a:pt x="21" y="21"/>
                            <a:pt x="21" y="21"/>
                            <a:pt x="21" y="21"/>
                          </a:cubicBezTo>
                          <a:lnTo>
                            <a:pt x="21" y="295"/>
                          </a:lnTo>
                          <a:close/>
                        </a:path>
                      </a:pathLst>
                    </a:custGeom>
                    <a:solidFill>
                      <a:srgbClr val="5F606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/>
                    </a:p>
                  </p:txBody>
                </p:sp>
              </p:grpSp>
              <p:cxnSp>
                <p:nvCxnSpPr>
                  <p:cNvPr id="33" name="Straight Connector 32"/>
                  <p:cNvCxnSpPr/>
                  <p:nvPr/>
                </p:nvCxnSpPr>
                <p:spPr>
                  <a:xfrm>
                    <a:off x="5076701" y="3948545"/>
                    <a:ext cx="104342" cy="77435"/>
                  </a:xfrm>
                  <a:prstGeom prst="line">
                    <a:avLst/>
                  </a:prstGeom>
                  <a:ln w="57150" cmpd="sng">
                    <a:solidFill>
                      <a:schemeClr val="accent3"/>
                    </a:solidFill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Straight Connector 33"/>
                  <p:cNvCxnSpPr/>
                  <p:nvPr/>
                </p:nvCxnSpPr>
                <p:spPr>
                  <a:xfrm flipV="1">
                    <a:off x="5163787" y="3716977"/>
                    <a:ext cx="168234" cy="283029"/>
                  </a:xfrm>
                  <a:prstGeom prst="line">
                    <a:avLst/>
                  </a:prstGeom>
                  <a:ln w="38100" cmpd="sng">
                    <a:solidFill>
                      <a:schemeClr val="accent3"/>
                    </a:solidFill>
                    <a:headEnd type="none" w="med" len="med"/>
                    <a:tailEnd type="triangl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25" name="Straight Connector 24"/>
              <p:cNvCxnSpPr/>
              <p:nvPr/>
            </p:nvCxnSpPr>
            <p:spPr>
              <a:xfrm flipH="1">
                <a:off x="6858000" y="1876425"/>
                <a:ext cx="314326" cy="504825"/>
              </a:xfrm>
              <a:prstGeom prst="line">
                <a:avLst/>
              </a:prstGeom>
              <a:ln w="28575" cmpd="sng">
                <a:solidFill>
                  <a:schemeClr val="accent3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11"/>
            <p:cNvSpPr txBox="1"/>
            <p:nvPr/>
          </p:nvSpPr>
          <p:spPr>
            <a:xfrm>
              <a:off x="3228976" y="1683512"/>
              <a:ext cx="1466850" cy="530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dirty="0" smtClean="0">
                  <a:latin typeface="Nokia Pure Headline Light" pitchFamily="34" charset="0"/>
                </a:rPr>
                <a:t>Aplikacje</a:t>
              </a:r>
              <a:endParaRPr lang="pl-PL" sz="1050" dirty="0" smtClean="0">
                <a:solidFill>
                  <a:schemeClr val="bg2"/>
                </a:solidFill>
                <a:latin typeface="Nokia Pure Headline Light" pitchFamily="34" charset="0"/>
              </a:endParaRPr>
            </a:p>
            <a:p>
              <a:endParaRPr lang="en-US" sz="1050" dirty="0" smtClean="0">
                <a:solidFill>
                  <a:schemeClr val="bg2"/>
                </a:solidFill>
                <a:latin typeface="Nokia Pure Headline Light" pitchFamily="34" charset="0"/>
              </a:endParaRPr>
            </a:p>
          </p:txBody>
        </p:sp>
      </p:grpSp>
      <p:sp>
        <p:nvSpPr>
          <p:cNvPr id="119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9/02/2016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408935" y="2973025"/>
            <a:ext cx="135081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l-PL" sz="1000" dirty="0" smtClean="0">
                <a:solidFill>
                  <a:schemeClr val="bg2"/>
                </a:solidFill>
                <a:latin typeface="Nokia Pure Headline Light" pitchFamily="34" charset="0"/>
              </a:rPr>
              <a:t>Sensory, czujniki inteligentne, maszyny i ich części, bazy danych, urządzenia codziennego użytku, wszystko co można podłączyć do internetu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1045552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5639" y="852201"/>
            <a:ext cx="5664429" cy="30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>
                <a:latin typeface="Nokia Pure Headline Light" pitchFamily="34" charset="0"/>
              </a:rPr>
              <a:t>Zakres</a:t>
            </a:r>
            <a:r>
              <a:rPr lang="en-US" dirty="0" smtClean="0">
                <a:latin typeface="Nokia Pure Headline Light" pitchFamily="34" charset="0"/>
              </a:rPr>
              <a:t> </a:t>
            </a:r>
            <a:r>
              <a:rPr lang="hr-HR" dirty="0" smtClean="0">
                <a:latin typeface="Nokia Pure Headline Light" pitchFamily="34" charset="0"/>
              </a:rPr>
              <a:t>projektu</a:t>
            </a:r>
            <a:r>
              <a:rPr lang="pl-PL" dirty="0" smtClean="0">
                <a:latin typeface="Nokia Pure Headline Light" pitchFamily="34" charset="0"/>
              </a:rPr>
              <a:t/>
            </a:r>
            <a:br>
              <a:rPr lang="pl-PL" dirty="0" smtClean="0">
                <a:latin typeface="Nokia Pure Headline Light" pitchFamily="34" charset="0"/>
              </a:rPr>
            </a:br>
            <a:endParaRPr lang="pl-PL" b="0" dirty="0">
              <a:latin typeface="Nokia Pure Headline Light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17513" y="852202"/>
            <a:ext cx="3943472" cy="302422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2000" dirty="0" smtClean="0">
                <a:solidFill>
                  <a:schemeClr val="bg1"/>
                </a:solidFill>
              </a:rPr>
              <a:t>Algorytmy planowania miejskiej sieci komunikacyjnej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600" dirty="0" smtClean="0">
              <a:solidFill>
                <a:schemeClr val="bg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600" dirty="0" smtClean="0">
                <a:solidFill>
                  <a:schemeClr val="bg1"/>
                </a:solidFill>
              </a:rPr>
              <a:t>Znalezienie korelacji pomiędzy różnymi źródłami danych publicznych wspomagających planowanie miejskiej sieci komunikacyjnej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b="1" dirty="0" smtClean="0">
              <a:solidFill>
                <a:schemeClr val="bg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bg1"/>
                </a:solidFill>
              </a:rPr>
              <a:t>Dane </a:t>
            </a:r>
            <a:r>
              <a:rPr lang="pl-PL" sz="1100" dirty="0" smtClean="0">
                <a:solidFill>
                  <a:schemeClr val="bg1"/>
                </a:solidFill>
              </a:rPr>
              <a:t>roweru miejskiego WRM/Nextbike*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bg1"/>
                </a:solidFill>
              </a:rPr>
              <a:t>D</a:t>
            </a:r>
            <a:r>
              <a:rPr lang="pl-PL" sz="1100" dirty="0" smtClean="0">
                <a:solidFill>
                  <a:schemeClr val="bg1"/>
                </a:solidFill>
              </a:rPr>
              <a:t>ane MPK o lokalizacji pojazdów*</a:t>
            </a:r>
            <a:endParaRPr lang="en-US" sz="1100" dirty="0" smtClean="0">
              <a:solidFill>
                <a:schemeClr val="bg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100" dirty="0">
                <a:solidFill>
                  <a:schemeClr val="bg1"/>
                </a:solidFill>
              </a:rPr>
              <a:t>Ś</a:t>
            </a:r>
            <a:r>
              <a:rPr lang="pl-PL" sz="1100" dirty="0" smtClean="0">
                <a:solidFill>
                  <a:schemeClr val="bg1"/>
                </a:solidFill>
              </a:rPr>
              <a:t>redni</a:t>
            </a:r>
            <a:r>
              <a:rPr lang="en-US" sz="1100" dirty="0" smtClean="0">
                <a:solidFill>
                  <a:schemeClr val="bg1"/>
                </a:solidFill>
              </a:rPr>
              <a:t>a</a:t>
            </a:r>
            <a:r>
              <a:rPr lang="pl-PL" sz="1100" dirty="0" smtClean="0">
                <a:solidFill>
                  <a:schemeClr val="bg1"/>
                </a:solidFill>
              </a:rPr>
              <a:t> prędkość pojazdów</a:t>
            </a:r>
            <a:endParaRPr lang="en-US" sz="1100" dirty="0" smtClean="0">
              <a:solidFill>
                <a:schemeClr val="bg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bg1"/>
                </a:solidFill>
              </a:rPr>
              <a:t>D</a:t>
            </a:r>
            <a:r>
              <a:rPr lang="pl-PL" sz="1100" dirty="0" smtClean="0">
                <a:solidFill>
                  <a:schemeClr val="bg1"/>
                </a:solidFill>
              </a:rPr>
              <a:t>ane pogodowe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bg1"/>
                </a:solidFill>
              </a:rPr>
              <a:t>Social media</a:t>
            </a:r>
            <a:r>
              <a:rPr lang="pl-PL" sz="1100" dirty="0" smtClean="0">
                <a:solidFill>
                  <a:schemeClr val="bg1"/>
                </a:solidFill>
              </a:rPr>
              <a:t>, Endomondo, European Cycling Challenge*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b="1" dirty="0" smtClean="0">
              <a:solidFill>
                <a:schemeClr val="bg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8836" y="3932055"/>
            <a:ext cx="39096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000" dirty="0" smtClean="0">
                <a:solidFill>
                  <a:schemeClr val="bg2"/>
                </a:solidFill>
                <a:latin typeface="Nokia Pure Headline Light" pitchFamily="34" charset="0"/>
              </a:rPr>
              <a:t>*Dane mogą wymagać wniosku o dostęp do celów badawczych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3852033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79400"/>
            <a:ext cx="8396287" cy="311150"/>
          </a:xfrm>
        </p:spPr>
        <p:txBody>
          <a:bodyPr/>
          <a:lstStyle/>
          <a:p>
            <a:r>
              <a:rPr lang="pl-PL" dirty="0" smtClean="0">
                <a:latin typeface="Nokia Pure Headline Light" pitchFamily="34" charset="0"/>
              </a:rPr>
              <a:t>Zakres projektu</a:t>
            </a:r>
            <a:br>
              <a:rPr lang="pl-PL" dirty="0" smtClean="0">
                <a:latin typeface="Nokia Pure Headline Light" pitchFamily="34" charset="0"/>
              </a:rPr>
            </a:br>
            <a:endParaRPr lang="pl-PL" b="0" dirty="0">
              <a:latin typeface="Nokia Pure Headline Light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89719" y="896494"/>
            <a:ext cx="134112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900" b="1" dirty="0" smtClean="0">
                <a:solidFill>
                  <a:schemeClr val="bg2"/>
                </a:solidFill>
                <a:latin typeface="+mj-lt"/>
              </a:rPr>
              <a:t>WRM</a:t>
            </a:r>
          </a:p>
          <a:p>
            <a:pPr algn="ctr"/>
            <a:r>
              <a:rPr lang="pl-PL" sz="900" dirty="0" smtClean="0">
                <a:solidFill>
                  <a:schemeClr val="bg2"/>
                </a:solidFill>
                <a:latin typeface="+mj-lt"/>
              </a:rPr>
              <a:t>Czas, miejsce wypożyczenia i zwrotu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72192" y="2370715"/>
            <a:ext cx="7761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000" b="1" dirty="0" smtClean="0">
                <a:solidFill>
                  <a:schemeClr val="bg2"/>
                </a:solidFill>
                <a:latin typeface="+mj-lt"/>
              </a:rPr>
              <a:t>Prędkość</a:t>
            </a:r>
          </a:p>
          <a:p>
            <a:pPr algn="ctr"/>
            <a:r>
              <a:rPr lang="pl-PL" sz="1000" dirty="0">
                <a:solidFill>
                  <a:schemeClr val="bg2"/>
                </a:solidFill>
                <a:latin typeface="+mj-lt"/>
              </a:rPr>
              <a:t>ś</a:t>
            </a:r>
            <a:r>
              <a:rPr lang="pl-PL" sz="1000" dirty="0" smtClean="0">
                <a:solidFill>
                  <a:schemeClr val="bg2"/>
                </a:solidFill>
                <a:latin typeface="+mj-lt"/>
              </a:rPr>
              <a:t>rednia 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prędkość 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w mieście</a:t>
            </a:r>
            <a:endParaRPr lang="pl-PL" sz="10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55361" y="1533577"/>
            <a:ext cx="80983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000" b="1" dirty="0" smtClean="0">
                <a:solidFill>
                  <a:schemeClr val="bg2"/>
                </a:solidFill>
                <a:latin typeface="+mj-lt"/>
              </a:rPr>
              <a:t>MPK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lokalizacja 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pojazdów </a:t>
            </a:r>
          </a:p>
          <a:p>
            <a:pPr algn="ctr"/>
            <a:endParaRPr lang="pl-PL" sz="1000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74597" y="3207853"/>
            <a:ext cx="7713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000" b="1" dirty="0" smtClean="0">
                <a:solidFill>
                  <a:schemeClr val="bg2"/>
                </a:solidFill>
                <a:latin typeface="+mj-lt"/>
              </a:rPr>
              <a:t>Pogoda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dane 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pogodowe</a:t>
            </a:r>
          </a:p>
        </p:txBody>
      </p:sp>
      <p:sp>
        <p:nvSpPr>
          <p:cNvPr id="77" name="Rectangle 76"/>
          <p:cNvSpPr>
            <a:spLocks noChangeAspect="1"/>
          </p:cNvSpPr>
          <p:nvPr/>
        </p:nvSpPr>
        <p:spPr>
          <a:xfrm>
            <a:off x="5793942" y="2918204"/>
            <a:ext cx="2622576" cy="46999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/>
          <a:lstStyle/>
          <a:p>
            <a:pPr algn="ctr">
              <a:lnSpc>
                <a:spcPct val="80000"/>
              </a:lnSpc>
            </a:pPr>
            <a:r>
              <a:rPr lang="pl-PL" sz="1200" dirty="0" smtClean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Prognozy korków</a:t>
            </a:r>
            <a:endParaRPr lang="pl-PL" sz="1200" dirty="0">
              <a:solidFill>
                <a:schemeClr val="bg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8" name="Rectangle 77"/>
          <p:cNvSpPr>
            <a:spLocks noChangeAspect="1"/>
          </p:cNvSpPr>
          <p:nvPr/>
        </p:nvSpPr>
        <p:spPr>
          <a:xfrm>
            <a:off x="5793942" y="2332170"/>
            <a:ext cx="2622576" cy="46999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/>
          <a:lstStyle/>
          <a:p>
            <a:pPr algn="ctr">
              <a:lnSpc>
                <a:spcPct val="80000"/>
              </a:lnSpc>
            </a:pPr>
            <a:r>
              <a:rPr lang="pl-PL" sz="1200" b="1" dirty="0" smtClean="0">
                <a:solidFill>
                  <a:schemeClr val="bg2"/>
                </a:solidFill>
                <a:latin typeface="Nokia Pure Headline Ultra Light" pitchFamily="34" charset="0"/>
                <a:ea typeface="ヒラギノ角ゴ Pro W3"/>
                <a:cs typeface="ヒラギノ角ゴ Pro W3"/>
              </a:rPr>
              <a:t>Optymalizacja WRM</a:t>
            </a:r>
            <a:endParaRPr lang="pl-PL" sz="1200" b="1" dirty="0">
              <a:solidFill>
                <a:schemeClr val="bg2"/>
              </a:solidFill>
              <a:latin typeface="Nokia Pure Headline Ultra Light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79" name="Rectangle 78"/>
          <p:cNvSpPr>
            <a:spLocks noChangeAspect="1"/>
          </p:cNvSpPr>
          <p:nvPr/>
        </p:nvSpPr>
        <p:spPr>
          <a:xfrm>
            <a:off x="5793942" y="1746137"/>
            <a:ext cx="2622576" cy="46999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/>
          <a:lstStyle/>
          <a:p>
            <a:pPr algn="ctr">
              <a:lnSpc>
                <a:spcPct val="80000"/>
              </a:lnSpc>
            </a:pPr>
            <a:r>
              <a:rPr lang="pl-PL" sz="1200" b="1" dirty="0" smtClean="0">
                <a:solidFill>
                  <a:schemeClr val="bg2"/>
                </a:solidFill>
                <a:latin typeface="Nokia Pure Headline Ultra Light" pitchFamily="34" charset="0"/>
                <a:ea typeface="ヒラギノ角ゴ Pro W3"/>
                <a:cs typeface="ヒラギノ角ゴ Pro W3"/>
              </a:rPr>
              <a:t>Optymalizacja Miejskiego Systemu Transportu</a:t>
            </a:r>
            <a:endParaRPr lang="pl-PL" sz="1200" b="1" dirty="0">
              <a:solidFill>
                <a:schemeClr val="bg2"/>
              </a:solidFill>
              <a:latin typeface="Nokia Pure Headline Ultra Light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82" name="Rectangle 81"/>
          <p:cNvSpPr>
            <a:spLocks noChangeAspect="1"/>
          </p:cNvSpPr>
          <p:nvPr/>
        </p:nvSpPr>
        <p:spPr>
          <a:xfrm>
            <a:off x="5793942" y="1160104"/>
            <a:ext cx="2622576" cy="46999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rtlCol="0" anchor="ctr"/>
          <a:lstStyle/>
          <a:p>
            <a:pPr algn="ctr">
              <a:lnSpc>
                <a:spcPct val="80000"/>
              </a:lnSpc>
            </a:pPr>
            <a:r>
              <a:rPr lang="pl-PL" sz="1200" b="1" dirty="0">
                <a:solidFill>
                  <a:schemeClr val="bg2"/>
                </a:solidFill>
                <a:latin typeface="Nokia Pure Headline Ultra Light" pitchFamily="34" charset="0"/>
                <a:ea typeface="ヒラギノ角ゴ Pro W3"/>
                <a:cs typeface="ヒラギノ角ゴ Pro W3"/>
              </a:rPr>
              <a:t>Planowanie budowy nowych tras rowerowych </a:t>
            </a:r>
          </a:p>
        </p:txBody>
      </p:sp>
      <p:cxnSp>
        <p:nvCxnSpPr>
          <p:cNvPr id="83" name="Straight Connector 82"/>
          <p:cNvCxnSpPr>
            <a:stCxn id="48" idx="3"/>
            <a:endCxn id="76" idx="1"/>
          </p:cNvCxnSpPr>
          <p:nvPr/>
        </p:nvCxnSpPr>
        <p:spPr>
          <a:xfrm>
            <a:off x="2240324" y="1142789"/>
            <a:ext cx="1015845" cy="1049043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58" idx="3"/>
          </p:cNvCxnSpPr>
          <p:nvPr/>
        </p:nvCxnSpPr>
        <p:spPr>
          <a:xfrm>
            <a:off x="2215051" y="1881372"/>
            <a:ext cx="736862" cy="394166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60" idx="3"/>
            <a:endCxn id="76" idx="2"/>
          </p:cNvCxnSpPr>
          <p:nvPr/>
        </p:nvCxnSpPr>
        <p:spPr>
          <a:xfrm flipV="1">
            <a:off x="2209927" y="2582752"/>
            <a:ext cx="599666" cy="37203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2118419" y="2839824"/>
            <a:ext cx="823651" cy="603971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76" idx="7"/>
            <a:endCxn id="82" idx="1"/>
          </p:cNvCxnSpPr>
          <p:nvPr/>
        </p:nvCxnSpPr>
        <p:spPr>
          <a:xfrm flipV="1">
            <a:off x="4567986" y="1395099"/>
            <a:ext cx="1225956" cy="842724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endCxn id="79" idx="1"/>
          </p:cNvCxnSpPr>
          <p:nvPr/>
        </p:nvCxnSpPr>
        <p:spPr>
          <a:xfrm flipV="1">
            <a:off x="4767385" y="1981132"/>
            <a:ext cx="1026557" cy="452521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76" idx="6"/>
            <a:endCxn id="78" idx="1"/>
          </p:cNvCxnSpPr>
          <p:nvPr/>
        </p:nvCxnSpPr>
        <p:spPr>
          <a:xfrm flipV="1">
            <a:off x="4930829" y="2567165"/>
            <a:ext cx="863113" cy="38582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endCxn id="77" idx="1"/>
          </p:cNvCxnSpPr>
          <p:nvPr/>
        </p:nvCxnSpPr>
        <p:spPr>
          <a:xfrm>
            <a:off x="4767385" y="2918204"/>
            <a:ext cx="1026557" cy="234995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2740467" y="3484852"/>
            <a:ext cx="579979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3" indent="-93663">
              <a:buFont typeface="Arial" pitchFamily="34" charset="0"/>
              <a:buChar char="•"/>
            </a:pP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Planowanie budowy nowych tras rowerowych na podstawie </a:t>
            </a:r>
            <a:b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</a:b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punktu wypozyczenia i oddania roweru oraz danych z aplikacji logujących</a:t>
            </a:r>
          </a:p>
          <a:p>
            <a:pPr marL="93663" indent="-93663">
              <a:buFont typeface="Arial" pitchFamily="34" charset="0"/>
              <a:buChar char="•"/>
            </a:pP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Planowanie budowy nowych tras rowerowych na podstawie korelacji lokalizacji </a:t>
            </a:r>
            <a:b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</a:b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stacji WRM z przystankiem MPK, zoptymalizowany system transportu</a:t>
            </a:r>
          </a:p>
          <a:p>
            <a:pPr marL="93663" indent="-93663">
              <a:buFont typeface="Arial" pitchFamily="34" charset="0"/>
              <a:buChar char="•"/>
            </a:pP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Wzajemna zależność pomiędzy liczbą rowerów w ruchu a średnią prędkością </a:t>
            </a:r>
            <a:b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</a:br>
            <a:r>
              <a:rPr lang="pl-PL" sz="1200" dirty="0" smtClean="0">
                <a:solidFill>
                  <a:schemeClr val="bg2"/>
                </a:solidFill>
                <a:latin typeface="Nokia Pure Headline Ultra Light" pitchFamily="34" charset="0"/>
              </a:rPr>
              <a:t>pojazdów w mieście, korelacja ruchu miejskiego z pogodą</a:t>
            </a:r>
          </a:p>
          <a:p>
            <a:pPr marL="93663" indent="-93663">
              <a:buFont typeface="Arial" pitchFamily="34" charset="0"/>
              <a:buChar char="•"/>
            </a:pPr>
            <a:endParaRPr lang="pl-PL" sz="1200" dirty="0">
              <a:solidFill>
                <a:schemeClr val="bg2"/>
              </a:solidFill>
              <a:latin typeface="Nokia Pure Headline Ultra Light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718114" y="879802"/>
            <a:ext cx="524669" cy="524092"/>
            <a:chOff x="1718114" y="879802"/>
            <a:chExt cx="524669" cy="524092"/>
          </a:xfrm>
        </p:grpSpPr>
        <p:sp>
          <p:nvSpPr>
            <p:cNvPr id="48" name="Rectangle 47"/>
            <p:cNvSpPr/>
            <p:nvPr/>
          </p:nvSpPr>
          <p:spPr>
            <a:xfrm>
              <a:off x="1718114" y="881684"/>
              <a:ext cx="522210" cy="5222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pl-PL" dirty="0" smtClean="0">
                <a:solidFill>
                  <a:schemeClr val="accent4"/>
                </a:solidFill>
              </a:endParaRPr>
            </a:p>
          </p:txBody>
        </p:sp>
        <p:pic>
          <p:nvPicPr>
            <p:cNvPr id="1137674" name="Picture 10" descr="https://image.freepik.com/darmowe-ikony/zarys-rower_318-37928.jpg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2794" y="879802"/>
              <a:ext cx="519989" cy="519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1692841" y="1620267"/>
            <a:ext cx="522210" cy="522210"/>
            <a:chOff x="1692841" y="1649755"/>
            <a:chExt cx="522210" cy="522210"/>
          </a:xfrm>
        </p:grpSpPr>
        <p:sp>
          <p:nvSpPr>
            <p:cNvPr id="58" name="Rectangle 57"/>
            <p:cNvSpPr/>
            <p:nvPr/>
          </p:nvSpPr>
          <p:spPr>
            <a:xfrm>
              <a:off x="1692841" y="1649755"/>
              <a:ext cx="522210" cy="5222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pl-PL" dirty="0" smtClean="0">
                <a:solidFill>
                  <a:schemeClr val="accent4"/>
                </a:solidFill>
              </a:endParaRPr>
            </a:p>
          </p:txBody>
        </p:sp>
        <p:pic>
          <p:nvPicPr>
            <p:cNvPr id="1137676" name="Picture 12" descr="https://image.freepik.com/darmowe-ikony/autobus-z-przodu_318-33490.png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5895" y="1682693"/>
              <a:ext cx="450892" cy="450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1687717" y="2358850"/>
            <a:ext cx="522210" cy="522210"/>
            <a:chOff x="1687717" y="2375676"/>
            <a:chExt cx="522210" cy="522210"/>
          </a:xfrm>
        </p:grpSpPr>
        <p:sp>
          <p:nvSpPr>
            <p:cNvPr id="60" name="Rectangle 59"/>
            <p:cNvSpPr/>
            <p:nvPr/>
          </p:nvSpPr>
          <p:spPr>
            <a:xfrm>
              <a:off x="1687717" y="2375676"/>
              <a:ext cx="522210" cy="5222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pl-PL" dirty="0" smtClean="0">
                <a:solidFill>
                  <a:schemeClr val="accent4"/>
                </a:solidFill>
              </a:endParaRPr>
            </a:p>
          </p:txBody>
        </p:sp>
        <p:pic>
          <p:nvPicPr>
            <p:cNvPr id="1137678" name="Picture 14" descr="https://image.freepik.com/darmowe-ikony/samochod-pr%C4%99dko%C5%9Bciomierza_318-37679.pn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5813" y="2400383"/>
              <a:ext cx="456266" cy="4562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1646162" y="3097433"/>
            <a:ext cx="605319" cy="522210"/>
            <a:chOff x="1646162" y="3088245"/>
            <a:chExt cx="605319" cy="522210"/>
          </a:xfrm>
        </p:grpSpPr>
        <p:sp>
          <p:nvSpPr>
            <p:cNvPr id="61" name="Rectangle 60"/>
            <p:cNvSpPr/>
            <p:nvPr/>
          </p:nvSpPr>
          <p:spPr>
            <a:xfrm>
              <a:off x="1702916" y="3088245"/>
              <a:ext cx="522210" cy="5222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pl-PL" dirty="0" smtClean="0">
                <a:solidFill>
                  <a:schemeClr val="accent4"/>
                </a:solidFill>
              </a:endParaRPr>
            </a:p>
          </p:txBody>
        </p:sp>
        <p:pic>
          <p:nvPicPr>
            <p:cNvPr id="1137680" name="Picture 16" descr="https://image.freepik.com/darmowe-ikony/zachmurzenie-prognoza-pogody_318-9099.jp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6162" y="3130249"/>
              <a:ext cx="605319" cy="453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TextBox 61"/>
          <p:cNvSpPr txBox="1"/>
          <p:nvPr/>
        </p:nvSpPr>
        <p:spPr>
          <a:xfrm>
            <a:off x="454184" y="3891102"/>
            <a:ext cx="12121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sz="1000" b="1" dirty="0" smtClean="0">
                <a:solidFill>
                  <a:schemeClr val="bg2"/>
                </a:solidFill>
                <a:latin typeface="+mj-lt"/>
              </a:rPr>
              <a:t>Social Media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Endomondo, ECC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02605" y="3836016"/>
            <a:ext cx="522210" cy="522210"/>
            <a:chOff x="1702605" y="3836016"/>
            <a:chExt cx="522210" cy="522210"/>
          </a:xfrm>
        </p:grpSpPr>
        <p:sp>
          <p:nvSpPr>
            <p:cNvPr id="63" name="Rectangle 62"/>
            <p:cNvSpPr/>
            <p:nvPr/>
          </p:nvSpPr>
          <p:spPr>
            <a:xfrm>
              <a:off x="1702605" y="3836016"/>
              <a:ext cx="522210" cy="52221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pl-PL" dirty="0" smtClean="0">
                <a:solidFill>
                  <a:schemeClr val="accent4"/>
                </a:solidFill>
              </a:endParaRPr>
            </a:p>
          </p:txBody>
        </p:sp>
        <p:pic>
          <p:nvPicPr>
            <p:cNvPr id="1137682" name="Picture 18" descr="http://marcinkargol.pl/wp-content/uploads/2014/10/endomondo-logo.jpg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5517" y="3874360"/>
              <a:ext cx="456385" cy="456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4" name="Straight Connector 63"/>
          <p:cNvCxnSpPr>
            <a:stCxn id="1137682" idx="3"/>
            <a:endCxn id="76" idx="3"/>
          </p:cNvCxnSpPr>
          <p:nvPr/>
        </p:nvCxnSpPr>
        <p:spPr>
          <a:xfrm flipV="1">
            <a:off x="2191902" y="2950676"/>
            <a:ext cx="1064267" cy="1151877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4" name="Picture 4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809593" y="579712"/>
            <a:ext cx="1188426" cy="1002378"/>
          </a:xfrm>
          <a:prstGeom prst="rect">
            <a:avLst/>
          </a:prstGeom>
        </p:spPr>
      </p:pic>
      <p:cxnSp>
        <p:nvCxnSpPr>
          <p:cNvPr id="42" name="Straight Connector 41"/>
          <p:cNvCxnSpPr>
            <a:stCxn id="44" idx="2"/>
          </p:cNvCxnSpPr>
          <p:nvPr/>
        </p:nvCxnSpPr>
        <p:spPr>
          <a:xfrm>
            <a:off x="3403806" y="1582090"/>
            <a:ext cx="449314" cy="698277"/>
          </a:xfrm>
          <a:prstGeom prst="line">
            <a:avLst/>
          </a:prstGeom>
          <a:ln w="2857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Freeform 17"/>
          <p:cNvSpPr>
            <a:spLocks noChangeAspect="1" noEditPoints="1"/>
          </p:cNvSpPr>
          <p:nvPr/>
        </p:nvSpPr>
        <p:spPr bwMode="auto">
          <a:xfrm>
            <a:off x="2809593" y="1892894"/>
            <a:ext cx="2121236" cy="1057782"/>
          </a:xfrm>
          <a:custGeom>
            <a:avLst/>
            <a:gdLst>
              <a:gd name="T0" fmla="*/ 26 w 76"/>
              <a:gd name="T1" fmla="*/ 17 h 46"/>
              <a:gd name="T2" fmla="*/ 16 w 76"/>
              <a:gd name="T3" fmla="*/ 13 h 46"/>
              <a:gd name="T4" fmla="*/ 0 w 76"/>
              <a:gd name="T5" fmla="*/ 30 h 46"/>
              <a:gd name="T6" fmla="*/ 16 w 76"/>
              <a:gd name="T7" fmla="*/ 46 h 46"/>
              <a:gd name="T8" fmla="*/ 59 w 76"/>
              <a:gd name="T9" fmla="*/ 46 h 46"/>
              <a:gd name="T10" fmla="*/ 60 w 76"/>
              <a:gd name="T11" fmla="*/ 46 h 46"/>
              <a:gd name="T12" fmla="*/ 76 w 76"/>
              <a:gd name="T13" fmla="*/ 31 h 46"/>
              <a:gd name="T14" fmla="*/ 63 w 76"/>
              <a:gd name="T15" fmla="*/ 15 h 46"/>
              <a:gd name="T16" fmla="*/ 59 w 76"/>
              <a:gd name="T17" fmla="*/ 15 h 46"/>
              <a:gd name="T18" fmla="*/ 60 w 76"/>
              <a:gd name="T19" fmla="*/ 20 h 46"/>
              <a:gd name="T20" fmla="*/ 38 w 76"/>
              <a:gd name="T21" fmla="*/ 0 h 46"/>
              <a:gd name="T22" fmla="*/ 16 w 76"/>
              <a:gd name="T23" fmla="*/ 1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6" h="46">
                <a:moveTo>
                  <a:pt x="26" y="17"/>
                </a:moveTo>
                <a:cubicBezTo>
                  <a:pt x="23" y="15"/>
                  <a:pt x="20" y="13"/>
                  <a:pt x="16" y="13"/>
                </a:cubicBezTo>
                <a:cubicBezTo>
                  <a:pt x="7" y="13"/>
                  <a:pt x="0" y="21"/>
                  <a:pt x="0" y="30"/>
                </a:cubicBezTo>
                <a:cubicBezTo>
                  <a:pt x="0" y="39"/>
                  <a:pt x="7" y="46"/>
                  <a:pt x="16" y="46"/>
                </a:cubicBezTo>
                <a:cubicBezTo>
                  <a:pt x="59" y="46"/>
                  <a:pt x="59" y="46"/>
                  <a:pt x="59" y="46"/>
                </a:cubicBezTo>
                <a:cubicBezTo>
                  <a:pt x="60" y="46"/>
                  <a:pt x="60" y="46"/>
                  <a:pt x="60" y="46"/>
                </a:cubicBezTo>
                <a:cubicBezTo>
                  <a:pt x="69" y="46"/>
                  <a:pt x="76" y="39"/>
                  <a:pt x="76" y="31"/>
                </a:cubicBezTo>
                <a:cubicBezTo>
                  <a:pt x="76" y="23"/>
                  <a:pt x="70" y="16"/>
                  <a:pt x="63" y="15"/>
                </a:cubicBezTo>
                <a:cubicBezTo>
                  <a:pt x="63" y="15"/>
                  <a:pt x="61" y="15"/>
                  <a:pt x="59" y="15"/>
                </a:cubicBezTo>
                <a:moveTo>
                  <a:pt x="60" y="20"/>
                </a:moveTo>
                <a:cubicBezTo>
                  <a:pt x="59" y="9"/>
                  <a:pt x="49" y="0"/>
                  <a:pt x="38" y="0"/>
                </a:cubicBezTo>
                <a:cubicBezTo>
                  <a:pt x="28" y="0"/>
                  <a:pt x="20" y="5"/>
                  <a:pt x="16" y="13"/>
                </a:cubicBezTo>
              </a:path>
            </a:pathLst>
          </a:custGeom>
          <a:solidFill>
            <a:schemeClr val="bg1"/>
          </a:solidFill>
          <a:ln w="31750" cap="rnd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pl-PL" sz="1200" kern="0" dirty="0" smtClean="0">
              <a:solidFill>
                <a:srgbClr val="68717A"/>
              </a:solidFill>
              <a:latin typeface="Nokia Pure Text Light"/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kern="0" dirty="0" smtClean="0">
                <a:solidFill>
                  <a:srgbClr val="68717A"/>
                </a:solidFill>
                <a:latin typeface="Nokia Pure Text Light"/>
              </a:rPr>
              <a:t>Analityka,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kern="0" dirty="0" smtClean="0">
                <a:solidFill>
                  <a:srgbClr val="68717A"/>
                </a:solidFill>
                <a:latin typeface="Nokia Pure Text Light"/>
              </a:rPr>
              <a:t>predykcje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kern="0" dirty="0" smtClean="0">
                <a:solidFill>
                  <a:srgbClr val="68717A"/>
                </a:solidFill>
                <a:latin typeface="Nokia Pure Text Light"/>
              </a:rPr>
              <a:t>Aplikacje</a:t>
            </a:r>
            <a:endParaRPr lang="pl-PL" sz="1200" kern="0" dirty="0">
              <a:solidFill>
                <a:srgbClr val="68717A"/>
              </a:solidFill>
              <a:latin typeface="Nokia Pure Text Ligh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845532" y="782734"/>
            <a:ext cx="17780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000" b="1" dirty="0" smtClean="0">
                <a:solidFill>
                  <a:schemeClr val="bg2"/>
                </a:solidFill>
                <a:latin typeface="+mj-lt"/>
              </a:rPr>
              <a:t>Czujnik inteligentny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Lokalizacja, prędkość</a:t>
            </a:r>
          </a:p>
          <a:p>
            <a:pPr algn="ctr"/>
            <a:r>
              <a:rPr lang="pl-PL" sz="1000" dirty="0" smtClean="0">
                <a:solidFill>
                  <a:schemeClr val="bg2"/>
                </a:solidFill>
                <a:latin typeface="+mj-lt"/>
              </a:rPr>
              <a:t>Zoptymalizowane algorytmy</a:t>
            </a:r>
          </a:p>
          <a:p>
            <a:pPr algn="ctr"/>
            <a:r>
              <a:rPr lang="pl-PL" sz="1000" dirty="0">
                <a:solidFill>
                  <a:schemeClr val="bg2"/>
                </a:solidFill>
                <a:latin typeface="+mj-lt"/>
              </a:rPr>
              <a:t>z</a:t>
            </a:r>
            <a:r>
              <a:rPr lang="pl-PL" sz="1000" dirty="0" smtClean="0">
                <a:solidFill>
                  <a:schemeClr val="bg2"/>
                </a:solidFill>
                <a:latin typeface="+mj-lt"/>
              </a:rPr>
              <a:t>użycia energii</a:t>
            </a:r>
          </a:p>
        </p:txBody>
      </p:sp>
    </p:spTree>
    <p:extLst>
      <p:ext uri="{BB962C8B-B14F-4D97-AF65-F5344CB8AC3E}">
        <p14:creationId xmlns:p14="http://schemas.microsoft.com/office/powerpoint/2010/main" val="297861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279400"/>
            <a:ext cx="8396287" cy="311150"/>
          </a:xfrm>
        </p:spPr>
        <p:txBody>
          <a:bodyPr/>
          <a:lstStyle/>
          <a:p>
            <a:r>
              <a:rPr lang="en-US" dirty="0" smtClean="0">
                <a:latin typeface="Nokia Pure Headline Light" pitchFamily="34" charset="0"/>
              </a:rPr>
              <a:t>Big data</a:t>
            </a:r>
            <a:r>
              <a:rPr lang="pl-PL" dirty="0">
                <a:latin typeface="Nokia Pure Headline Light" pitchFamily="34" charset="0"/>
              </a:rPr>
              <a:t/>
            </a:r>
            <a:br>
              <a:rPr lang="pl-PL" dirty="0">
                <a:latin typeface="Nokia Pure Headline Light" pitchFamily="34" charset="0"/>
              </a:rPr>
            </a:br>
            <a:endParaRPr lang="pl-PL" b="0" dirty="0">
              <a:latin typeface="Nokia Pure Headline Light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17513" y="4342326"/>
            <a:ext cx="678045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u="sng" dirty="0">
                <a:latin typeface="Segoe UI" panose="020B0502040204020203" pitchFamily="34" charset="0"/>
              </a:rPr>
              <a:t>http://www.tylervigen.com/spurious-correlations</a:t>
            </a:r>
            <a:endParaRPr lang="en-US" sz="11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381" t="24491" r="15524" b="21856"/>
          <a:stretch/>
        </p:blipFill>
        <p:spPr>
          <a:xfrm>
            <a:off x="4135596" y="2398463"/>
            <a:ext cx="4677622" cy="21354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4095" t="31357" r="15714" b="15469"/>
          <a:stretch/>
        </p:blipFill>
        <p:spPr>
          <a:xfrm>
            <a:off x="234633" y="780250"/>
            <a:ext cx="4580528" cy="206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2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8"/>
          <p:cNvSpPr/>
          <p:nvPr/>
        </p:nvSpPr>
        <p:spPr>
          <a:xfrm>
            <a:off x="372508" y="595204"/>
            <a:ext cx="435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Internet of Things (</a:t>
            </a:r>
            <a:r>
              <a:rPr lang="en-US" dirty="0" err="1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IoT</a:t>
            </a:r>
            <a:r>
              <a:rPr lang="en-US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)</a:t>
            </a:r>
            <a:endParaRPr lang="en-US" dirty="0">
              <a:ln w="3175">
                <a:noFill/>
              </a:ln>
              <a:solidFill>
                <a:schemeClr val="bg1"/>
              </a:solidFill>
              <a:latin typeface="Nokia Pure Headline Light" pitchFamily="34" charset="0"/>
              <a:ea typeface="Nokia Pure Text" pitchFamily="34" charset="0"/>
              <a:cs typeface="Nokia Pure Text" pitchFamily="34" charset="0"/>
            </a:endParaRPr>
          </a:p>
        </p:txBody>
      </p:sp>
      <p:sp>
        <p:nvSpPr>
          <p:cNvPr id="6" name="Rechteck 9"/>
          <p:cNvSpPr/>
          <p:nvPr/>
        </p:nvSpPr>
        <p:spPr>
          <a:xfrm>
            <a:off x="2991063" y="610593"/>
            <a:ext cx="2340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dirty="0" smtClean="0">
                <a:ln w="3175">
                  <a:noFill/>
                </a:ln>
                <a:solidFill>
                  <a:schemeClr val="bg1"/>
                </a:solidFill>
                <a:latin typeface="Nokia Pure Headline Light" pitchFamily="34" charset="0"/>
                <a:ea typeface="Nokia Pure Text" pitchFamily="34" charset="0"/>
                <a:cs typeface="Nokia Pure Text" pitchFamily="34" charset="0"/>
              </a:rPr>
              <a:t>Projekty zespołowe</a:t>
            </a:r>
            <a:endParaRPr lang="pl-PL" sz="1600" dirty="0">
              <a:ln w="3175">
                <a:noFill/>
              </a:ln>
              <a:solidFill>
                <a:schemeClr val="bg1"/>
              </a:solidFill>
              <a:latin typeface="Nokia Pure Headline Light" pitchFamily="34" charset="0"/>
              <a:ea typeface="Nokia Pure Text" pitchFamily="34" charset="0"/>
              <a:cs typeface="Nokia Pure Text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788920" y="553903"/>
            <a:ext cx="0" cy="451937"/>
          </a:xfrm>
          <a:prstGeom prst="line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8" name="Rectangle 7"/>
          <p:cNvSpPr/>
          <p:nvPr/>
        </p:nvSpPr>
        <p:spPr>
          <a:xfrm>
            <a:off x="372507" y="1339950"/>
            <a:ext cx="7214541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2800" dirty="0">
                <a:solidFill>
                  <a:schemeClr val="bg1"/>
                </a:solidFill>
                <a:latin typeface="Nokia Pure Headline" panose="020B0504040602060303" pitchFamily="34" charset="0"/>
              </a:rPr>
              <a:t>Aplikacja mobilna na platfotmy Android i Windows Mobile, służąca do zdalnej kontroli urządzeń PDU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2800" dirty="0">
                <a:solidFill>
                  <a:schemeClr val="bg1"/>
                </a:solidFill>
                <a:latin typeface="Nokia Pure Headline" panose="020B0504040602060303" pitchFamily="34" charset="0"/>
              </a:rPr>
              <a:t>(Power Distribution Unit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l-PL" dirty="0" smtClean="0">
              <a:solidFill>
                <a:schemeClr val="bg1"/>
              </a:solidFill>
              <a:latin typeface="Nokia Pure Headline" panose="020B0504040602060303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600" b="1" dirty="0">
                <a:solidFill>
                  <a:srgbClr val="FFFFFF"/>
                </a:solidFill>
                <a:latin typeface="Nokia Pure Headline" panose="020B0504040602060303" pitchFamily="34" charset="0"/>
              </a:rPr>
              <a:t>Prowadzący</a:t>
            </a:r>
            <a:endParaRPr lang="pl-PL" sz="2000" b="1" dirty="0">
              <a:solidFill>
                <a:srgbClr val="FFFFFF"/>
              </a:solidFill>
              <a:latin typeface="Nokia Pure Headline" panose="020B0504040602060303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  <a:latin typeface="Nokia Pure Headline" panose="020B0504040602060303" pitchFamily="34" charset="0"/>
              </a:rPr>
              <a:t>Krzysztof Kuzio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  <a:latin typeface="Nokia Pure Headline" panose="020B0504040602060303" pitchFamily="34" charset="0"/>
              </a:rPr>
              <a:t>Dariusz Kempa</a:t>
            </a:r>
          </a:p>
        </p:txBody>
      </p:sp>
    </p:spTree>
    <p:extLst>
      <p:ext uri="{BB962C8B-B14F-4D97-AF65-F5344CB8AC3E}">
        <p14:creationId xmlns:p14="http://schemas.microsoft.com/office/powerpoint/2010/main" val="29458686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wer Distribution Uni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1829" y="1206233"/>
            <a:ext cx="4097517" cy="122249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85279" y="952555"/>
            <a:ext cx="42139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smtClean="0">
                <a:solidFill>
                  <a:srgbClr val="124191"/>
                </a:solidFill>
              </a:rPr>
              <a:t>Jednostka dystrybucji zasilania służaca do zarządzania zasilaniem urządzeń sprzętu IT, a także monitorowania stanu środowiskowego.</a:t>
            </a:r>
            <a:endParaRPr lang="en-US" dirty="0" smtClean="0">
              <a:solidFill>
                <a:srgbClr val="124191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5279" y="3035163"/>
            <a:ext cx="83909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smtClean="0">
                <a:solidFill>
                  <a:srgbClr val="124191"/>
                </a:solidFill>
              </a:rPr>
              <a:t>Jednostki PDU oferują sterowanie zasilaniem wraz z jego pomiarem w czasie rzeczywistym pozwalając na kontrolę urządzeń podłączonych za pośrednictwiem połączenia TCP/IP (wspiera także protokół SNMP). </a:t>
            </a:r>
            <a:endParaRPr lang="en-US" dirty="0" smtClean="0">
              <a:solidFill>
                <a:srgbClr val="12419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8460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nterfejs PDU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130" y="591038"/>
            <a:ext cx="8710864" cy="3984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806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T_PPT_Temp_Arial_Macro_Free_v5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2.xml><?xml version="1.0" encoding="utf-8"?>
<a:theme xmlns:a="http://schemas.openxmlformats.org/drawingml/2006/main" name="2_NET_PPT_Temp_Pure_V30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spcBef>
            <a:spcPts val="0"/>
          </a:spcBef>
          <a:spcAft>
            <a:spcPts val="0"/>
          </a:spcAft>
          <a:defRPr sz="12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0" indent="0">
          <a:spcBef>
            <a:spcPts val="0"/>
          </a:spcBef>
          <a:buNone/>
          <a:defRPr sz="1200" dirty="0" smtClean="0">
            <a:solidFill>
              <a:schemeClr val="tx2"/>
            </a:solidFill>
            <a:latin typeface="+mn-lt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Pure_V29" id="{87D3FFF2-CAA1-4FD4-91D1-8A7835009366}" vid="{1E39DFE6-DD35-4EC6-A0B0-F02986C14DF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T_PPT_Temp_Arial_Macro_Free_v53</Template>
  <TotalTime>0</TotalTime>
  <Words>347</Words>
  <Application>Microsoft Office PowerPoint</Application>
  <PresentationFormat>On-screen Show (16:9)</PresentationFormat>
  <Paragraphs>91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Lucida Grande</vt:lpstr>
      <vt:lpstr>Nokia Pure Headline</vt:lpstr>
      <vt:lpstr>Nokia Pure Headline Light</vt:lpstr>
      <vt:lpstr>Nokia Pure Headline Ultra Light</vt:lpstr>
      <vt:lpstr>Nokia Pure Text</vt:lpstr>
      <vt:lpstr>Nokia Pure Text Light</vt:lpstr>
      <vt:lpstr>Segoe UI</vt:lpstr>
      <vt:lpstr>ヒラギノ角ゴ Pro W3</vt:lpstr>
      <vt:lpstr>NET_PPT_Temp_Arial_Macro_Free_v53</vt:lpstr>
      <vt:lpstr>2_NET_PPT_Temp_Pure_V30</vt:lpstr>
      <vt:lpstr>think-cell Slide</vt:lpstr>
      <vt:lpstr>Projekty Zespołowe 2016</vt:lpstr>
      <vt:lpstr>PowerPoint Presentation</vt:lpstr>
      <vt:lpstr>Internet of Things M2M vs IoT</vt:lpstr>
      <vt:lpstr>Zakres projektu </vt:lpstr>
      <vt:lpstr>Zakres projektu </vt:lpstr>
      <vt:lpstr>Big data </vt:lpstr>
      <vt:lpstr>PowerPoint Presentation</vt:lpstr>
      <vt:lpstr>Power Distribution Unit</vt:lpstr>
      <vt:lpstr>Interfejs PDU</vt:lpstr>
      <vt:lpstr>Cel</vt:lpstr>
      <vt:lpstr>Jak ma działać…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1-13T09:48:46Z</dcterms:created>
  <dcterms:modified xsi:type="dcterms:W3CDTF">2016-02-19T15:30:12Z</dcterms:modified>
</cp:coreProperties>
</file>